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4"/>
    <p:sldMasterId id="2147483702" r:id="rId5"/>
  </p:sldMasterIdLst>
  <p:notesMasterIdLst>
    <p:notesMasterId r:id="rId13"/>
  </p:notesMasterIdLst>
  <p:handoutMasterIdLst>
    <p:handoutMasterId r:id="rId14"/>
  </p:handoutMasterIdLst>
  <p:sldIdLst>
    <p:sldId id="264" r:id="rId6"/>
    <p:sldId id="283" r:id="rId7"/>
    <p:sldId id="282" r:id="rId8"/>
    <p:sldId id="281" r:id="rId9"/>
    <p:sldId id="278" r:id="rId10"/>
    <p:sldId id="276" r:id="rId11"/>
    <p:sldId id="273" r:id="rId12"/>
  </p:sldIdLst>
  <p:sldSz cx="12192000" cy="6858000"/>
  <p:notesSz cx="6797675" cy="9926638"/>
  <p:custDataLst>
    <p:tags r:id="rId1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941E"/>
    <a:srgbClr val="24959B"/>
    <a:srgbClr val="44A8B1"/>
    <a:srgbClr val="6F2C91"/>
    <a:srgbClr val="87499C"/>
    <a:srgbClr val="636466"/>
    <a:srgbClr val="002957"/>
    <a:srgbClr val="9DCBCD"/>
    <a:srgbClr val="F7B9D4"/>
    <a:srgbClr val="9553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ema til typografi 1 - Markering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4125" autoAdjust="0"/>
  </p:normalViewPr>
  <p:slideViewPr>
    <p:cSldViewPr>
      <p:cViewPr varScale="1">
        <p:scale>
          <a:sx n="109" d="100"/>
          <a:sy n="109" d="100"/>
        </p:scale>
        <p:origin x="636" y="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ine Bøgesgaard" userId="8fb1fa1b-6df7-40ab-b293-ad7235e9e7b1" providerId="ADAL" clId="{9CBF793D-1BB3-48A1-8E93-38EEF0677A41}"/>
    <pc:docChg chg="modSld">
      <pc:chgData name="Martine Bøgesgaard" userId="8fb1fa1b-6df7-40ab-b293-ad7235e9e7b1" providerId="ADAL" clId="{9CBF793D-1BB3-48A1-8E93-38EEF0677A41}" dt="2018-11-23T11:48:08.971" v="9" actId="20577"/>
      <pc:docMkLst>
        <pc:docMk/>
      </pc:docMkLst>
      <pc:sldChg chg="modSp">
        <pc:chgData name="Martine Bøgesgaard" userId="8fb1fa1b-6df7-40ab-b293-ad7235e9e7b1" providerId="ADAL" clId="{9CBF793D-1BB3-48A1-8E93-38EEF0677A41}" dt="2018-11-23T11:48:08.971" v="9" actId="20577"/>
        <pc:sldMkLst>
          <pc:docMk/>
          <pc:sldMk cId="1165576580" sldId="264"/>
        </pc:sldMkLst>
        <pc:spChg chg="mod">
          <ac:chgData name="Martine Bøgesgaard" userId="8fb1fa1b-6df7-40ab-b293-ad7235e9e7b1" providerId="ADAL" clId="{9CBF793D-1BB3-48A1-8E93-38EEF0677A41}" dt="2018-11-23T11:48:08.971" v="9" actId="20577"/>
          <ac:spMkLst>
            <pc:docMk/>
            <pc:sldMk cId="1165576580" sldId="264"/>
            <ac:spMk id="7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FF2C44-B12B-49D7-A50E-A47D9473A0E1}" type="doc">
      <dgm:prSet loTypeId="urn:microsoft.com/office/officeart/2005/8/layout/pList2" loCatId="picture" qsTypeId="urn:microsoft.com/office/officeart/2005/8/quickstyle/simple1" qsCatId="simple" csTypeId="urn:microsoft.com/office/officeart/2005/8/colors/accent1_2" csCatId="accent1" phldr="1"/>
      <dgm:spPr/>
    </dgm:pt>
    <dgm:pt modelId="{5504967C-28E0-444D-8C94-7E4B6FE49D35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1600" dirty="0">
              <a:latin typeface="Scala Sans Black" pitchFamily="50" charset="0"/>
              <a:cs typeface="Arial" panose="020B0604020202020204" pitchFamily="34" charset="0"/>
            </a:rPr>
            <a:t>1. 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 </a:t>
          </a:r>
        </a:p>
        <a:p>
          <a:pPr algn="l"/>
          <a:r>
            <a:rPr lang="da-DK" sz="1600" dirty="0">
              <a:latin typeface="Scala Sans Black" pitchFamily="50" charset="0"/>
            </a:rPr>
            <a:t>2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gm:t>
    </dgm:pt>
    <dgm:pt modelId="{9C2C5D6D-DB0A-4817-AADA-3EE0E671D329}" type="parTrans" cxnId="{9FBEEFD4-41F7-4D38-ABE5-3A7482596A62}">
      <dgm:prSet/>
      <dgm:spPr/>
      <dgm:t>
        <a:bodyPr/>
        <a:lstStyle/>
        <a:p>
          <a:endParaRPr lang="da-DK"/>
        </a:p>
      </dgm:t>
    </dgm:pt>
    <dgm:pt modelId="{9BEC59D3-DE21-4BF3-85F5-6F4C514A54AE}" type="sibTrans" cxnId="{9FBEEFD4-41F7-4D38-ABE5-3A7482596A62}">
      <dgm:prSet/>
      <dgm:spPr/>
      <dgm:t>
        <a:bodyPr/>
        <a:lstStyle/>
        <a:p>
          <a:endParaRPr lang="da-DK"/>
        </a:p>
      </dgm:t>
    </dgm:pt>
    <dgm:pt modelId="{E17C6951-C0DE-4DF8-AC24-4C6484B233A9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1600" dirty="0">
              <a:latin typeface="Scala Sans Black" pitchFamily="50" charset="0"/>
            </a:rPr>
            <a:t>1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</a:t>
          </a:r>
          <a:endParaRPr lang="da-DK" sz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da-DK" sz="1600" dirty="0">
              <a:latin typeface="Scala Sans Black" pitchFamily="50" charset="0"/>
            </a:rPr>
            <a:t>2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gm:t>
    </dgm:pt>
    <dgm:pt modelId="{7C8DBE5F-278C-4D2E-983D-164AF3C73265}" type="parTrans" cxnId="{0A882102-F60A-4DD8-A431-248D44883D26}">
      <dgm:prSet/>
      <dgm:spPr/>
      <dgm:t>
        <a:bodyPr/>
        <a:lstStyle/>
        <a:p>
          <a:endParaRPr lang="da-DK"/>
        </a:p>
      </dgm:t>
    </dgm:pt>
    <dgm:pt modelId="{394B15D8-EA72-44D6-B377-E80A799180B9}" type="sibTrans" cxnId="{0A882102-F60A-4DD8-A431-248D44883D26}">
      <dgm:prSet/>
      <dgm:spPr/>
      <dgm:t>
        <a:bodyPr/>
        <a:lstStyle/>
        <a:p>
          <a:endParaRPr lang="da-DK"/>
        </a:p>
      </dgm:t>
    </dgm:pt>
    <dgm:pt modelId="{C56D3107-63FB-4A33-A145-237A55595ABC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1600" dirty="0">
              <a:latin typeface="Scala Sans Black" pitchFamily="50" charset="0"/>
            </a:rPr>
            <a:t>1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vikardækker akut</a:t>
          </a:r>
        </a:p>
        <a:p>
          <a:pPr algn="l"/>
          <a:r>
            <a:rPr lang="da-DK" sz="1600" dirty="0">
              <a:latin typeface="Scala Sans Black" pitchFamily="50" charset="0"/>
            </a:rPr>
            <a:t>2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vikardækker planlagt fravær</a:t>
          </a:r>
        </a:p>
        <a:p>
          <a:pPr algn="l"/>
          <a:r>
            <a:rPr lang="da-DK" sz="1600" dirty="0">
              <a:latin typeface="Scala Sans Black" pitchFamily="50" charset="0"/>
            </a:rPr>
            <a:t>3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overfører løn til timelønnet personale</a:t>
          </a:r>
        </a:p>
        <a:p>
          <a:pPr algn="l"/>
          <a:r>
            <a:rPr lang="da-DK" sz="1600" dirty="0">
              <a:latin typeface="Scala Sans Black" pitchFamily="50" charset="0"/>
            </a:rPr>
            <a:t>4.</a:t>
          </a:r>
          <a:endParaRPr lang="da-DK" sz="900" dirty="0">
            <a:latin typeface="+mj-lt"/>
          </a:endParaRP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  <a:p>
          <a:pPr algn="l"/>
          <a:endParaRPr lang="da-DK" sz="900" dirty="0">
            <a:latin typeface="+mj-lt"/>
          </a:endParaRPr>
        </a:p>
        <a:p>
          <a:pPr algn="l"/>
          <a:endParaRPr lang="da-DK" sz="900" dirty="0"/>
        </a:p>
      </dgm:t>
    </dgm:pt>
    <dgm:pt modelId="{E42125D9-4CA5-4B0E-9B91-D1ABE95CEEF8}" type="parTrans" cxnId="{95593799-759F-4350-903D-C70BE7EBCC1E}">
      <dgm:prSet/>
      <dgm:spPr/>
      <dgm:t>
        <a:bodyPr/>
        <a:lstStyle/>
        <a:p>
          <a:endParaRPr lang="da-DK"/>
        </a:p>
      </dgm:t>
    </dgm:pt>
    <dgm:pt modelId="{83F333CF-1787-4E71-B641-E3ACFC226208}" type="sibTrans" cxnId="{95593799-759F-4350-903D-C70BE7EBCC1E}">
      <dgm:prSet/>
      <dgm:spPr/>
      <dgm:t>
        <a:bodyPr/>
        <a:lstStyle/>
        <a:p>
          <a:endParaRPr lang="da-DK"/>
        </a:p>
      </dgm:t>
    </dgm:pt>
    <dgm:pt modelId="{0C60E6DA-32A4-4CE1-8A0F-536B22FAE721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1600" dirty="0">
              <a:latin typeface="Scala Sans Black" pitchFamily="50" charset="0"/>
            </a:rPr>
            <a:t>1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vikardækker akut</a:t>
          </a:r>
        </a:p>
        <a:p>
          <a:pPr algn="l"/>
          <a:r>
            <a:rPr lang="da-DK" sz="1600" dirty="0">
              <a:latin typeface="Scala Sans Black" pitchFamily="50" charset="0"/>
            </a:rPr>
            <a:t>2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vikardækker planlagt fravær</a:t>
          </a:r>
        </a:p>
        <a:p>
          <a:pPr algn="l"/>
          <a:r>
            <a:rPr lang="da-DK" sz="1600" dirty="0">
              <a:latin typeface="Scala Sans Black" pitchFamily="50" charset="0"/>
            </a:rPr>
            <a:t>3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overfører løn til timelønnet personale</a:t>
          </a:r>
        </a:p>
        <a:p>
          <a:pPr algn="l"/>
          <a:r>
            <a:rPr lang="da-DK" sz="1600" dirty="0">
              <a:latin typeface="Scala Sans Black" pitchFamily="50" charset="0"/>
            </a:rPr>
            <a:t>4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gm:t>
    </dgm:pt>
    <dgm:pt modelId="{77A1B005-244C-4065-BA5E-6DFA20B5FC49}" type="parTrans" cxnId="{84D66D6E-9F9C-4793-BAF3-F0032B580489}">
      <dgm:prSet/>
      <dgm:spPr/>
      <dgm:t>
        <a:bodyPr/>
        <a:lstStyle/>
        <a:p>
          <a:endParaRPr lang="da-DK"/>
        </a:p>
      </dgm:t>
    </dgm:pt>
    <dgm:pt modelId="{F9F1533C-5833-4FC5-AA6C-121C1D1A9962}" type="sibTrans" cxnId="{84D66D6E-9F9C-4793-BAF3-F0032B580489}">
      <dgm:prSet/>
      <dgm:spPr/>
      <dgm:t>
        <a:bodyPr/>
        <a:lstStyle/>
        <a:p>
          <a:endParaRPr lang="da-DK"/>
        </a:p>
      </dgm:t>
    </dgm:pt>
    <dgm:pt modelId="{E648665F-B6B0-48CB-8ABF-8C1A249DD777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Besøg af Lone Udengaard fra Personale</a:t>
          </a:r>
        </a:p>
      </dgm:t>
    </dgm:pt>
    <dgm:pt modelId="{EE8131D7-3A57-40B1-8B4D-2BAB6CFC6CD1}" type="parTrans" cxnId="{DA299951-664E-4727-A1BF-77947B573BCB}">
      <dgm:prSet/>
      <dgm:spPr/>
      <dgm:t>
        <a:bodyPr/>
        <a:lstStyle/>
        <a:p>
          <a:endParaRPr lang="da-DK"/>
        </a:p>
      </dgm:t>
    </dgm:pt>
    <dgm:pt modelId="{91DB44C6-3C3F-4FCB-A82E-441F4FD98199}" type="sibTrans" cxnId="{DA299951-664E-4727-A1BF-77947B573BCB}">
      <dgm:prSet/>
      <dgm:spPr/>
      <dgm:t>
        <a:bodyPr/>
        <a:lstStyle/>
        <a:p>
          <a:endParaRPr lang="da-DK"/>
        </a:p>
      </dgm:t>
    </dgm:pt>
    <dgm:pt modelId="{D45B5713-C9E3-48CD-8224-096840407275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Der afholdes </a:t>
          </a:r>
          <a:r>
            <a:rPr lang="da-DK" sz="900" dirty="0" err="1">
              <a:latin typeface="Arial" panose="020B0604020202020204" pitchFamily="34" charset="0"/>
              <a:cs typeface="Arial" panose="020B0604020202020204" pitchFamily="34" charset="0"/>
            </a:rPr>
            <a:t>erfa</a:t>
          </a:r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-møde for de 5 skoler på holdet, hvor de involverede personer kan dele erfaringer, sparre med hinanden om udfordringer samt dele tips &amp; tricks.</a:t>
          </a:r>
        </a:p>
        <a:p>
          <a:pPr algn="l"/>
          <a:endParaRPr lang="da-DK" sz="9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Skolerne skiftes til at være værter for møderne.</a:t>
          </a:r>
        </a:p>
        <a:p>
          <a:pPr algn="l"/>
          <a:endParaRPr lang="da-DK" sz="9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Martine og Lone planlægger og faciliterer</a:t>
          </a:r>
        </a:p>
      </dgm:t>
    </dgm:pt>
    <dgm:pt modelId="{23C28A71-13BC-48B5-8CF3-3C53EA372D77}" type="parTrans" cxnId="{60089BFA-ABFB-41C4-8362-829322837BFC}">
      <dgm:prSet/>
      <dgm:spPr/>
      <dgm:t>
        <a:bodyPr/>
        <a:lstStyle/>
        <a:p>
          <a:endParaRPr lang="da-DK"/>
        </a:p>
      </dgm:t>
    </dgm:pt>
    <dgm:pt modelId="{B48B34E9-DF73-49F3-A61D-66E9C4B37A0D}" type="sibTrans" cxnId="{60089BFA-ABFB-41C4-8362-829322837BFC}">
      <dgm:prSet/>
      <dgm:spPr/>
      <dgm:t>
        <a:bodyPr/>
        <a:lstStyle/>
        <a:p>
          <a:endParaRPr lang="da-DK"/>
        </a:p>
      </dgm:t>
    </dgm:pt>
    <dgm:pt modelId="{3DF08CC7-03EE-440D-94BC-A36461F11FDD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1600" dirty="0">
              <a:latin typeface="Scala Sans Black" pitchFamily="50" charset="0"/>
            </a:rPr>
            <a:t>1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</a:t>
          </a:r>
        </a:p>
        <a:p>
          <a:pPr algn="l"/>
          <a:r>
            <a:rPr lang="da-DK" sz="1600" dirty="0">
              <a:latin typeface="Scala Sans Black" pitchFamily="50" charset="0"/>
            </a:rPr>
            <a:t>2.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gm:t>
    </dgm:pt>
    <dgm:pt modelId="{7FA1A5FE-7774-40A5-9AFB-9419D5773BE9}" type="parTrans" cxnId="{3F2C55E6-5CF4-4563-8CC4-DFAD88BD5282}">
      <dgm:prSet/>
      <dgm:spPr/>
      <dgm:t>
        <a:bodyPr/>
        <a:lstStyle/>
        <a:p>
          <a:endParaRPr lang="da-DK"/>
        </a:p>
      </dgm:t>
    </dgm:pt>
    <dgm:pt modelId="{239591D1-8A9F-478E-BC3A-FD7734C5250F}" type="sibTrans" cxnId="{3F2C55E6-5CF4-4563-8CC4-DFAD88BD5282}">
      <dgm:prSet/>
      <dgm:spPr/>
      <dgm:t>
        <a:bodyPr/>
        <a:lstStyle/>
        <a:p>
          <a:endParaRPr lang="da-DK"/>
        </a:p>
      </dgm:t>
    </dgm:pt>
    <dgm:pt modelId="{7743FAC3-FA9E-4945-ABA7-80AE56E96D38}">
      <dgm:prSet phldrT="[Tekst]" custT="1"/>
      <dgm:spPr>
        <a:solidFill>
          <a:srgbClr val="EF9304"/>
        </a:solidFill>
        <a:ln>
          <a:noFill/>
        </a:ln>
      </dgm:spPr>
      <dgm:t>
        <a:bodyPr/>
        <a:lstStyle/>
        <a:p>
          <a:pPr algn="ctr"/>
          <a:r>
            <a:rPr lang="da-DK" sz="2100" dirty="0">
              <a:latin typeface="Scala Sans Black" pitchFamily="50" charset="0"/>
            </a:rPr>
            <a:t>HVEM</a:t>
          </a: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Der afholdes </a:t>
          </a:r>
          <a:r>
            <a:rPr lang="da-DK" sz="900" dirty="0" err="1">
              <a:latin typeface="Arial" panose="020B0604020202020204" pitchFamily="34" charset="0"/>
              <a:cs typeface="Arial" panose="020B0604020202020204" pitchFamily="34" charset="0"/>
            </a:rPr>
            <a:t>erfa</a:t>
          </a:r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-møde for de 5 skoler på holdet, hvor de involverede personer kan dele erfaringer, sparre med hinanden om udfordringer samt dele tips &amp; tricks.</a:t>
          </a:r>
        </a:p>
        <a:p>
          <a:pPr algn="l"/>
          <a:endParaRPr lang="da-DK" sz="9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Skolerne skiftes til at være værter for møderne.</a:t>
          </a:r>
        </a:p>
        <a:p>
          <a:pPr algn="l"/>
          <a:endParaRPr lang="da-DK" sz="9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da-DK" sz="900" dirty="0">
              <a:latin typeface="Arial" panose="020B0604020202020204" pitchFamily="34" charset="0"/>
              <a:cs typeface="Arial" panose="020B0604020202020204" pitchFamily="34" charset="0"/>
            </a:rPr>
            <a:t>Martine og Lone planlægger og faciliterer</a:t>
          </a:r>
          <a:endParaRPr lang="da-DK" sz="900" dirty="0"/>
        </a:p>
      </dgm:t>
    </dgm:pt>
    <dgm:pt modelId="{CBEF13FF-5643-4769-A9E6-62647B4AB6E5}" type="sibTrans" cxnId="{24A58EF9-6BA1-492F-98F6-638A93E655EB}">
      <dgm:prSet/>
      <dgm:spPr/>
      <dgm:t>
        <a:bodyPr/>
        <a:lstStyle/>
        <a:p>
          <a:endParaRPr lang="da-DK"/>
        </a:p>
      </dgm:t>
    </dgm:pt>
    <dgm:pt modelId="{C8513105-5807-4F86-8C15-FFF5FDBCEF3A}" type="parTrans" cxnId="{24A58EF9-6BA1-492F-98F6-638A93E655EB}">
      <dgm:prSet/>
      <dgm:spPr/>
      <dgm:t>
        <a:bodyPr/>
        <a:lstStyle/>
        <a:p>
          <a:endParaRPr lang="da-DK"/>
        </a:p>
      </dgm:t>
    </dgm:pt>
    <dgm:pt modelId="{0FFC6578-6AFF-4C2F-9A27-1A5D9ABD14DD}" type="pres">
      <dgm:prSet presAssocID="{DAFF2C44-B12B-49D7-A50E-A47D9473A0E1}" presName="Name0" presStyleCnt="0">
        <dgm:presLayoutVars>
          <dgm:dir/>
          <dgm:resizeHandles val="exact"/>
        </dgm:presLayoutVars>
      </dgm:prSet>
      <dgm:spPr/>
    </dgm:pt>
    <dgm:pt modelId="{F547F576-EA07-4C27-88A0-F4B2B1F3E21A}" type="pres">
      <dgm:prSet presAssocID="{DAFF2C44-B12B-49D7-A50E-A47D9473A0E1}" presName="bkgdShp" presStyleLbl="alignAccFollowNode1" presStyleIdx="0" presStyleCnt="1" custScaleY="222222" custLinFactNeighborX="-1373" custLinFactNeighborY="9909"/>
      <dgm:spPr>
        <a:solidFill>
          <a:schemeClr val="accent2">
            <a:lumMod val="40000"/>
            <a:lumOff val="60000"/>
          </a:schemeClr>
        </a:solidFill>
        <a:ln>
          <a:noFill/>
        </a:ln>
      </dgm:spPr>
    </dgm:pt>
    <dgm:pt modelId="{18AE2AE9-D57D-4D4C-A04C-7A323181FC47}" type="pres">
      <dgm:prSet presAssocID="{DAFF2C44-B12B-49D7-A50E-A47D9473A0E1}" presName="linComp" presStyleCnt="0"/>
      <dgm:spPr/>
    </dgm:pt>
    <dgm:pt modelId="{66158A41-0AE1-4849-B1D0-07EA59B1D522}" type="pres">
      <dgm:prSet presAssocID="{5504967C-28E0-444D-8C94-7E4B6FE49D35}" presName="compNode" presStyleCnt="0"/>
      <dgm:spPr/>
    </dgm:pt>
    <dgm:pt modelId="{6ED4B28F-CF99-4E75-BB63-F0555AA923E5}" type="pres">
      <dgm:prSet presAssocID="{5504967C-28E0-444D-8C94-7E4B6FE49D35}" presName="node" presStyleLbl="node1" presStyleIdx="0" presStyleCnt="8" custScaleY="113800" custLinFactNeighborX="1577" custLinFactNeighborY="-12595">
        <dgm:presLayoutVars>
          <dgm:bulletEnabled val="1"/>
        </dgm:presLayoutVars>
      </dgm:prSet>
      <dgm:spPr/>
    </dgm:pt>
    <dgm:pt modelId="{DD57649D-64ED-4946-B538-BCF3B30EDBC1}" type="pres">
      <dgm:prSet presAssocID="{5504967C-28E0-444D-8C94-7E4B6FE49D35}" presName="invisiNode" presStyleLbl="node1" presStyleIdx="0" presStyleCnt="8"/>
      <dgm:spPr/>
    </dgm:pt>
    <dgm:pt modelId="{A1633135-F24D-42D0-B06D-E984155A4749}" type="pres">
      <dgm:prSet presAssocID="{5504967C-28E0-444D-8C94-7E4B6FE49D35}" presName="imagNode" presStyleLbl="fgImgPlace1" presStyleIdx="0" presStyleCnt="8" custScaleY="130405" custLinFactNeighborX="-616" custLinFactNeighborY="-63369"/>
      <dgm:spPr>
        <a:solidFill>
          <a:schemeClr val="bg1"/>
        </a:solidFill>
      </dgm:spPr>
    </dgm:pt>
    <dgm:pt modelId="{3FB3FE40-FDA6-4509-B370-FEDF6F201076}" type="pres">
      <dgm:prSet presAssocID="{9BEC59D3-DE21-4BF3-85F5-6F4C514A54AE}" presName="sibTrans" presStyleLbl="sibTrans2D1" presStyleIdx="0" presStyleCnt="0"/>
      <dgm:spPr/>
    </dgm:pt>
    <dgm:pt modelId="{E311D11B-3C24-4FC3-966E-FC31F5D9AF31}" type="pres">
      <dgm:prSet presAssocID="{3DF08CC7-03EE-440D-94BC-A36461F11FDD}" presName="compNode" presStyleCnt="0"/>
      <dgm:spPr/>
    </dgm:pt>
    <dgm:pt modelId="{A82F117E-B3D5-4396-B90E-382772034A96}" type="pres">
      <dgm:prSet presAssocID="{3DF08CC7-03EE-440D-94BC-A36461F11FDD}" presName="node" presStyleLbl="node1" presStyleIdx="1" presStyleCnt="8" custScaleY="113140" custLinFactNeighborX="1616" custLinFactNeighborY="-12702">
        <dgm:presLayoutVars>
          <dgm:bulletEnabled val="1"/>
        </dgm:presLayoutVars>
      </dgm:prSet>
      <dgm:spPr/>
    </dgm:pt>
    <dgm:pt modelId="{4D55A817-05A4-4D3B-B885-BCE432E50DA0}" type="pres">
      <dgm:prSet presAssocID="{3DF08CC7-03EE-440D-94BC-A36461F11FDD}" presName="invisiNode" presStyleLbl="node1" presStyleIdx="1" presStyleCnt="8"/>
      <dgm:spPr/>
    </dgm:pt>
    <dgm:pt modelId="{B1C4C8A6-7C87-4BBA-9B96-4AECC490FB78}" type="pres">
      <dgm:prSet presAssocID="{3DF08CC7-03EE-440D-94BC-A36461F11FDD}" presName="imagNode" presStyleLbl="fgImgPlace1" presStyleIdx="1" presStyleCnt="8" custScaleY="130364" custLinFactNeighborX="-252" custLinFactNeighborY="-56566"/>
      <dgm:spPr>
        <a:solidFill>
          <a:schemeClr val="bg1"/>
        </a:solidFill>
      </dgm:spPr>
    </dgm:pt>
    <dgm:pt modelId="{2A75DD47-C859-40B7-80B7-E8F9545A8C66}" type="pres">
      <dgm:prSet presAssocID="{239591D1-8A9F-478E-BC3A-FD7734C5250F}" presName="sibTrans" presStyleLbl="sibTrans2D1" presStyleIdx="0" presStyleCnt="0"/>
      <dgm:spPr/>
    </dgm:pt>
    <dgm:pt modelId="{1AA9BE9E-9373-48ED-BC74-359D31ABD43E}" type="pres">
      <dgm:prSet presAssocID="{E17C6951-C0DE-4DF8-AC24-4C6484B233A9}" presName="compNode" presStyleCnt="0"/>
      <dgm:spPr/>
    </dgm:pt>
    <dgm:pt modelId="{271202D5-A456-40C5-A701-9E04AE90C36E}" type="pres">
      <dgm:prSet presAssocID="{E17C6951-C0DE-4DF8-AC24-4C6484B233A9}" presName="node" presStyleLbl="node1" presStyleIdx="2" presStyleCnt="8" custScaleY="113800" custLinFactNeighborX="1577" custLinFactNeighborY="-12595">
        <dgm:presLayoutVars>
          <dgm:bulletEnabled val="1"/>
        </dgm:presLayoutVars>
      </dgm:prSet>
      <dgm:spPr/>
    </dgm:pt>
    <dgm:pt modelId="{04B04E82-CF15-4F7B-A9F6-3D789B9A04C3}" type="pres">
      <dgm:prSet presAssocID="{E17C6951-C0DE-4DF8-AC24-4C6484B233A9}" presName="invisiNode" presStyleLbl="node1" presStyleIdx="2" presStyleCnt="8"/>
      <dgm:spPr/>
    </dgm:pt>
    <dgm:pt modelId="{E2F2F494-7C1E-4EB9-949E-2724DD52EFF7}" type="pres">
      <dgm:prSet presAssocID="{E17C6951-C0DE-4DF8-AC24-4C6484B233A9}" presName="imagNode" presStyleLbl="fgImgPlace1" presStyleIdx="2" presStyleCnt="8" custScaleY="130405" custLinFactNeighborX="-616" custLinFactNeighborY="-63369"/>
      <dgm:spPr>
        <a:solidFill>
          <a:schemeClr val="bg1"/>
        </a:solidFill>
      </dgm:spPr>
    </dgm:pt>
    <dgm:pt modelId="{05810072-7182-4305-88FB-C5693B8F29BD}" type="pres">
      <dgm:prSet presAssocID="{394B15D8-EA72-44D6-B377-E80A799180B9}" presName="sibTrans" presStyleLbl="sibTrans2D1" presStyleIdx="0" presStyleCnt="0"/>
      <dgm:spPr/>
    </dgm:pt>
    <dgm:pt modelId="{9F75840D-091B-45E2-91B6-91B96F41DF7A}" type="pres">
      <dgm:prSet presAssocID="{C56D3107-63FB-4A33-A145-237A55595ABC}" presName="compNode" presStyleCnt="0"/>
      <dgm:spPr/>
    </dgm:pt>
    <dgm:pt modelId="{9179CC44-F60F-474E-B38D-2C0DA374C3B6}" type="pres">
      <dgm:prSet presAssocID="{C56D3107-63FB-4A33-A145-237A55595ABC}" presName="node" presStyleLbl="node1" presStyleIdx="3" presStyleCnt="8" custScaleY="113800" custLinFactNeighborX="1577" custLinFactNeighborY="-12595">
        <dgm:presLayoutVars>
          <dgm:bulletEnabled val="1"/>
        </dgm:presLayoutVars>
      </dgm:prSet>
      <dgm:spPr/>
    </dgm:pt>
    <dgm:pt modelId="{033CDF97-953F-46A3-A9B9-95EF93062558}" type="pres">
      <dgm:prSet presAssocID="{C56D3107-63FB-4A33-A145-237A55595ABC}" presName="invisiNode" presStyleLbl="node1" presStyleIdx="3" presStyleCnt="8"/>
      <dgm:spPr/>
    </dgm:pt>
    <dgm:pt modelId="{FC81C282-4D13-4A13-B989-4C15CB6DFC39}" type="pres">
      <dgm:prSet presAssocID="{C56D3107-63FB-4A33-A145-237A55595ABC}" presName="imagNode" presStyleLbl="fgImgPlace1" presStyleIdx="3" presStyleCnt="8" custScaleY="130405" custLinFactNeighborX="-616" custLinFactNeighborY="-63369"/>
      <dgm:spPr>
        <a:solidFill>
          <a:schemeClr val="bg1"/>
        </a:solidFill>
      </dgm:spPr>
    </dgm:pt>
    <dgm:pt modelId="{285F604A-615C-4C44-A7C7-B1BBF3A192B3}" type="pres">
      <dgm:prSet presAssocID="{83F333CF-1787-4E71-B641-E3ACFC226208}" presName="sibTrans" presStyleLbl="sibTrans2D1" presStyleIdx="0" presStyleCnt="0"/>
      <dgm:spPr/>
    </dgm:pt>
    <dgm:pt modelId="{C3026B13-0600-43AF-8FAF-7698A0A1829C}" type="pres">
      <dgm:prSet presAssocID="{0C60E6DA-32A4-4CE1-8A0F-536B22FAE721}" presName="compNode" presStyleCnt="0"/>
      <dgm:spPr/>
    </dgm:pt>
    <dgm:pt modelId="{301B0254-6307-4C95-BDD2-BB5AAD42A028}" type="pres">
      <dgm:prSet presAssocID="{0C60E6DA-32A4-4CE1-8A0F-536B22FAE721}" presName="node" presStyleLbl="node1" presStyleIdx="4" presStyleCnt="8" custScaleY="113800" custLinFactNeighborX="1577" custLinFactNeighborY="-12595">
        <dgm:presLayoutVars>
          <dgm:bulletEnabled val="1"/>
        </dgm:presLayoutVars>
      </dgm:prSet>
      <dgm:spPr/>
    </dgm:pt>
    <dgm:pt modelId="{43C63A39-A1D3-427D-B2CC-83A6150898C0}" type="pres">
      <dgm:prSet presAssocID="{0C60E6DA-32A4-4CE1-8A0F-536B22FAE721}" presName="invisiNode" presStyleLbl="node1" presStyleIdx="4" presStyleCnt="8"/>
      <dgm:spPr/>
    </dgm:pt>
    <dgm:pt modelId="{78F0FA67-8758-4475-BF33-24E6F19AD3C7}" type="pres">
      <dgm:prSet presAssocID="{0C60E6DA-32A4-4CE1-8A0F-536B22FAE721}" presName="imagNode" presStyleLbl="fgImgPlace1" presStyleIdx="4" presStyleCnt="8" custScaleY="130405" custLinFactNeighborX="-1515" custLinFactNeighborY="-65874"/>
      <dgm:spPr>
        <a:solidFill>
          <a:schemeClr val="bg1"/>
        </a:solidFill>
      </dgm:spPr>
    </dgm:pt>
    <dgm:pt modelId="{125A5DFF-3DBF-4430-A651-BC735CAC9490}" type="pres">
      <dgm:prSet presAssocID="{F9F1533C-5833-4FC5-AA6C-121C1D1A9962}" presName="sibTrans" presStyleLbl="sibTrans2D1" presStyleIdx="0" presStyleCnt="0"/>
      <dgm:spPr/>
    </dgm:pt>
    <dgm:pt modelId="{DEFE8D1F-C5D1-4E90-960B-F5C7F4B69CB2}" type="pres">
      <dgm:prSet presAssocID="{E648665F-B6B0-48CB-8ABF-8C1A249DD777}" presName="compNode" presStyleCnt="0"/>
      <dgm:spPr/>
    </dgm:pt>
    <dgm:pt modelId="{2C26E93D-A6FF-4907-9693-38A2716E2566}" type="pres">
      <dgm:prSet presAssocID="{E648665F-B6B0-48CB-8ABF-8C1A249DD777}" presName="node" presStyleLbl="node1" presStyleIdx="5" presStyleCnt="8" custScaleY="113800" custLinFactNeighborX="1577" custLinFactNeighborY="-12595">
        <dgm:presLayoutVars>
          <dgm:bulletEnabled val="1"/>
        </dgm:presLayoutVars>
      </dgm:prSet>
      <dgm:spPr/>
    </dgm:pt>
    <dgm:pt modelId="{C640ABA9-B7EA-47BB-992C-F7EDAC2DE4A1}" type="pres">
      <dgm:prSet presAssocID="{E648665F-B6B0-48CB-8ABF-8C1A249DD777}" presName="invisiNode" presStyleLbl="node1" presStyleIdx="5" presStyleCnt="8"/>
      <dgm:spPr/>
    </dgm:pt>
    <dgm:pt modelId="{35DAF262-624E-4004-BF14-87CFC68DE678}" type="pres">
      <dgm:prSet presAssocID="{E648665F-B6B0-48CB-8ABF-8C1A249DD777}" presName="imagNode" presStyleLbl="fgImgPlace1" presStyleIdx="5" presStyleCnt="8" custScaleY="130405" custLinFactNeighborX="-616" custLinFactNeighborY="-63369"/>
      <dgm:spPr>
        <a:solidFill>
          <a:schemeClr val="bg1"/>
        </a:solidFill>
      </dgm:spPr>
    </dgm:pt>
    <dgm:pt modelId="{6A1C09AA-600C-4CCA-A140-A55BBA6F41AC}" type="pres">
      <dgm:prSet presAssocID="{91DB44C6-3C3F-4FCB-A82E-441F4FD98199}" presName="sibTrans" presStyleLbl="sibTrans2D1" presStyleIdx="0" presStyleCnt="0"/>
      <dgm:spPr/>
    </dgm:pt>
    <dgm:pt modelId="{70C595E6-F7D9-457B-ACA6-F6B65E296F8C}" type="pres">
      <dgm:prSet presAssocID="{D45B5713-C9E3-48CD-8224-096840407275}" presName="compNode" presStyleCnt="0"/>
      <dgm:spPr/>
    </dgm:pt>
    <dgm:pt modelId="{C167D775-3BE5-44AE-853E-255E9212D3A5}" type="pres">
      <dgm:prSet presAssocID="{D45B5713-C9E3-48CD-8224-096840407275}" presName="node" presStyleLbl="node1" presStyleIdx="6" presStyleCnt="8" custScaleY="113800" custLinFactNeighborX="-593" custLinFactNeighborY="-12595">
        <dgm:presLayoutVars>
          <dgm:bulletEnabled val="1"/>
        </dgm:presLayoutVars>
      </dgm:prSet>
      <dgm:spPr/>
    </dgm:pt>
    <dgm:pt modelId="{BA87F3D0-65E6-4A96-BBFB-FDB71478162B}" type="pres">
      <dgm:prSet presAssocID="{D45B5713-C9E3-48CD-8224-096840407275}" presName="invisiNode" presStyleLbl="node1" presStyleIdx="6" presStyleCnt="8"/>
      <dgm:spPr/>
    </dgm:pt>
    <dgm:pt modelId="{FF06392C-DCDA-435B-9158-5C85D2361A8F}" type="pres">
      <dgm:prSet presAssocID="{D45B5713-C9E3-48CD-8224-096840407275}" presName="imagNode" presStyleLbl="fgImgPlace1" presStyleIdx="6" presStyleCnt="8" custScaleY="130405" custLinFactNeighborX="-616" custLinFactNeighborY="-63369"/>
      <dgm:spPr>
        <a:solidFill>
          <a:schemeClr val="bg1"/>
        </a:solidFill>
      </dgm:spPr>
    </dgm:pt>
    <dgm:pt modelId="{2D79C329-62B6-483D-80CF-472F30DC0C08}" type="pres">
      <dgm:prSet presAssocID="{B48B34E9-DF73-49F3-A61D-66E9C4B37A0D}" presName="sibTrans" presStyleLbl="sibTrans2D1" presStyleIdx="0" presStyleCnt="0"/>
      <dgm:spPr/>
    </dgm:pt>
    <dgm:pt modelId="{B8ABB218-43E9-4455-BBF6-B28FF45FC4A7}" type="pres">
      <dgm:prSet presAssocID="{7743FAC3-FA9E-4945-ABA7-80AE56E96D38}" presName="compNode" presStyleCnt="0"/>
      <dgm:spPr/>
    </dgm:pt>
    <dgm:pt modelId="{7F6B14BB-FC4F-43F9-85FF-E90AB03C8D7C}" type="pres">
      <dgm:prSet presAssocID="{7743FAC3-FA9E-4945-ABA7-80AE56E96D38}" presName="node" presStyleLbl="node1" presStyleIdx="7" presStyleCnt="8" custScaleY="113800" custLinFactNeighborX="-2691" custLinFactNeighborY="-12595">
        <dgm:presLayoutVars>
          <dgm:bulletEnabled val="1"/>
        </dgm:presLayoutVars>
      </dgm:prSet>
      <dgm:spPr/>
    </dgm:pt>
    <dgm:pt modelId="{CE61BFDC-BFC6-4BC2-A531-F9F3F8F180FB}" type="pres">
      <dgm:prSet presAssocID="{7743FAC3-FA9E-4945-ABA7-80AE56E96D38}" presName="invisiNode" presStyleLbl="node1" presStyleIdx="7" presStyleCnt="8"/>
      <dgm:spPr/>
    </dgm:pt>
    <dgm:pt modelId="{76964685-8EA3-48C5-89DE-E5396FD880C4}" type="pres">
      <dgm:prSet presAssocID="{7743FAC3-FA9E-4945-ABA7-80AE56E96D38}" presName="imagNode" presStyleLbl="fgImgPlace1" presStyleIdx="7" presStyleCnt="8" custScaleY="130405" custLinFactNeighborX="-616" custLinFactNeighborY="-63369"/>
      <dgm:spPr>
        <a:solidFill>
          <a:schemeClr val="bg1"/>
        </a:solidFill>
      </dgm:spPr>
    </dgm:pt>
  </dgm:ptLst>
  <dgm:cxnLst>
    <dgm:cxn modelId="{0A882102-F60A-4DD8-A431-248D44883D26}" srcId="{DAFF2C44-B12B-49D7-A50E-A47D9473A0E1}" destId="{E17C6951-C0DE-4DF8-AC24-4C6484B233A9}" srcOrd="2" destOrd="0" parTransId="{7C8DBE5F-278C-4D2E-983D-164AF3C73265}" sibTransId="{394B15D8-EA72-44D6-B377-E80A799180B9}"/>
    <dgm:cxn modelId="{8B03EB38-23A2-453C-8704-06901A30C3C6}" type="presOf" srcId="{7743FAC3-FA9E-4945-ABA7-80AE56E96D38}" destId="{7F6B14BB-FC4F-43F9-85FF-E90AB03C8D7C}" srcOrd="0" destOrd="0" presId="urn:microsoft.com/office/officeart/2005/8/layout/pList2"/>
    <dgm:cxn modelId="{86786D62-EC59-4D38-99C0-25C95D9757A9}" type="presOf" srcId="{3DF08CC7-03EE-440D-94BC-A36461F11FDD}" destId="{A82F117E-B3D5-4396-B90E-382772034A96}" srcOrd="0" destOrd="0" presId="urn:microsoft.com/office/officeart/2005/8/layout/pList2"/>
    <dgm:cxn modelId="{84D66D6E-9F9C-4793-BAF3-F0032B580489}" srcId="{DAFF2C44-B12B-49D7-A50E-A47D9473A0E1}" destId="{0C60E6DA-32A4-4CE1-8A0F-536B22FAE721}" srcOrd="4" destOrd="0" parTransId="{77A1B005-244C-4065-BA5E-6DFA20B5FC49}" sibTransId="{F9F1533C-5833-4FC5-AA6C-121C1D1A9962}"/>
    <dgm:cxn modelId="{DA299951-664E-4727-A1BF-77947B573BCB}" srcId="{DAFF2C44-B12B-49D7-A50E-A47D9473A0E1}" destId="{E648665F-B6B0-48CB-8ABF-8C1A249DD777}" srcOrd="5" destOrd="0" parTransId="{EE8131D7-3A57-40B1-8B4D-2BAB6CFC6CD1}" sibTransId="{91DB44C6-3C3F-4FCB-A82E-441F4FD98199}"/>
    <dgm:cxn modelId="{19F96278-566B-4DC1-89E2-6BC8703365E8}" type="presOf" srcId="{239591D1-8A9F-478E-BC3A-FD7734C5250F}" destId="{2A75DD47-C859-40B7-80B7-E8F9545A8C66}" srcOrd="0" destOrd="0" presId="urn:microsoft.com/office/officeart/2005/8/layout/pList2"/>
    <dgm:cxn modelId="{F5BCC888-F48B-4605-89DA-5EEC156A846B}" type="presOf" srcId="{D45B5713-C9E3-48CD-8224-096840407275}" destId="{C167D775-3BE5-44AE-853E-255E9212D3A5}" srcOrd="0" destOrd="0" presId="urn:microsoft.com/office/officeart/2005/8/layout/pList2"/>
    <dgm:cxn modelId="{95593799-759F-4350-903D-C70BE7EBCC1E}" srcId="{DAFF2C44-B12B-49D7-A50E-A47D9473A0E1}" destId="{C56D3107-63FB-4A33-A145-237A55595ABC}" srcOrd="3" destOrd="0" parTransId="{E42125D9-4CA5-4B0E-9B91-D1ABE95CEEF8}" sibTransId="{83F333CF-1787-4E71-B641-E3ACFC226208}"/>
    <dgm:cxn modelId="{585E9EAE-D86F-4E7C-8DC4-5264E0A277F5}" type="presOf" srcId="{F9F1533C-5833-4FC5-AA6C-121C1D1A9962}" destId="{125A5DFF-3DBF-4430-A651-BC735CAC9490}" srcOrd="0" destOrd="0" presId="urn:microsoft.com/office/officeart/2005/8/layout/pList2"/>
    <dgm:cxn modelId="{33C321B1-50CF-48BD-A0C4-2730FACF24F4}" type="presOf" srcId="{91DB44C6-3C3F-4FCB-A82E-441F4FD98199}" destId="{6A1C09AA-600C-4CCA-A140-A55BBA6F41AC}" srcOrd="0" destOrd="0" presId="urn:microsoft.com/office/officeart/2005/8/layout/pList2"/>
    <dgm:cxn modelId="{B70547BC-8055-41E6-9EB8-1ED6DC7109AE}" type="presOf" srcId="{B48B34E9-DF73-49F3-A61D-66E9C4B37A0D}" destId="{2D79C329-62B6-483D-80CF-472F30DC0C08}" srcOrd="0" destOrd="0" presId="urn:microsoft.com/office/officeart/2005/8/layout/pList2"/>
    <dgm:cxn modelId="{4A0009C7-3EF0-44C9-B706-B0ACA7659BDF}" type="presOf" srcId="{9BEC59D3-DE21-4BF3-85F5-6F4C514A54AE}" destId="{3FB3FE40-FDA6-4509-B370-FEDF6F201076}" srcOrd="0" destOrd="0" presId="urn:microsoft.com/office/officeart/2005/8/layout/pList2"/>
    <dgm:cxn modelId="{09EA50C7-5CD7-4977-9C03-9A816942F845}" type="presOf" srcId="{C56D3107-63FB-4A33-A145-237A55595ABC}" destId="{9179CC44-F60F-474E-B38D-2C0DA374C3B6}" srcOrd="0" destOrd="0" presId="urn:microsoft.com/office/officeart/2005/8/layout/pList2"/>
    <dgm:cxn modelId="{171CAECA-45D4-460D-8EA4-97B1A6A93CE0}" type="presOf" srcId="{E17C6951-C0DE-4DF8-AC24-4C6484B233A9}" destId="{271202D5-A456-40C5-A701-9E04AE90C36E}" srcOrd="0" destOrd="0" presId="urn:microsoft.com/office/officeart/2005/8/layout/pList2"/>
    <dgm:cxn modelId="{597509D1-2DDD-45BA-BB88-B5F2EA0C4B00}" type="presOf" srcId="{DAFF2C44-B12B-49D7-A50E-A47D9473A0E1}" destId="{0FFC6578-6AFF-4C2F-9A27-1A5D9ABD14DD}" srcOrd="0" destOrd="0" presId="urn:microsoft.com/office/officeart/2005/8/layout/pList2"/>
    <dgm:cxn modelId="{9FBEEFD4-41F7-4D38-ABE5-3A7482596A62}" srcId="{DAFF2C44-B12B-49D7-A50E-A47D9473A0E1}" destId="{5504967C-28E0-444D-8C94-7E4B6FE49D35}" srcOrd="0" destOrd="0" parTransId="{9C2C5D6D-DB0A-4817-AADA-3EE0E671D329}" sibTransId="{9BEC59D3-DE21-4BF3-85F5-6F4C514A54AE}"/>
    <dgm:cxn modelId="{084B41DA-33EC-4E28-9CA5-B452126B0271}" type="presOf" srcId="{394B15D8-EA72-44D6-B377-E80A799180B9}" destId="{05810072-7182-4305-88FB-C5693B8F29BD}" srcOrd="0" destOrd="0" presId="urn:microsoft.com/office/officeart/2005/8/layout/pList2"/>
    <dgm:cxn modelId="{251CFBDB-3A58-49E6-BBAA-445B7D9524FB}" type="presOf" srcId="{83F333CF-1787-4E71-B641-E3ACFC226208}" destId="{285F604A-615C-4C44-A7C7-B1BBF3A192B3}" srcOrd="0" destOrd="0" presId="urn:microsoft.com/office/officeart/2005/8/layout/pList2"/>
    <dgm:cxn modelId="{6A091ADD-CD78-494F-A6F1-584096344ED8}" type="presOf" srcId="{5504967C-28E0-444D-8C94-7E4B6FE49D35}" destId="{6ED4B28F-CF99-4E75-BB63-F0555AA923E5}" srcOrd="0" destOrd="0" presId="urn:microsoft.com/office/officeart/2005/8/layout/pList2"/>
    <dgm:cxn modelId="{3F2C55E6-5CF4-4563-8CC4-DFAD88BD5282}" srcId="{DAFF2C44-B12B-49D7-A50E-A47D9473A0E1}" destId="{3DF08CC7-03EE-440D-94BC-A36461F11FDD}" srcOrd="1" destOrd="0" parTransId="{7FA1A5FE-7774-40A5-9AFB-9419D5773BE9}" sibTransId="{239591D1-8A9F-478E-BC3A-FD7734C5250F}"/>
    <dgm:cxn modelId="{19307BF7-3743-475B-B8C3-EC833FFCDAEA}" type="presOf" srcId="{E648665F-B6B0-48CB-8ABF-8C1A249DD777}" destId="{2C26E93D-A6FF-4907-9693-38A2716E2566}" srcOrd="0" destOrd="0" presId="urn:microsoft.com/office/officeart/2005/8/layout/pList2"/>
    <dgm:cxn modelId="{3226A6F7-BF5B-4F7B-A14C-4891795FD546}" type="presOf" srcId="{0C60E6DA-32A4-4CE1-8A0F-536B22FAE721}" destId="{301B0254-6307-4C95-BDD2-BB5AAD42A028}" srcOrd="0" destOrd="0" presId="urn:microsoft.com/office/officeart/2005/8/layout/pList2"/>
    <dgm:cxn modelId="{24A58EF9-6BA1-492F-98F6-638A93E655EB}" srcId="{DAFF2C44-B12B-49D7-A50E-A47D9473A0E1}" destId="{7743FAC3-FA9E-4945-ABA7-80AE56E96D38}" srcOrd="7" destOrd="0" parTransId="{C8513105-5807-4F86-8C15-FFF5FDBCEF3A}" sibTransId="{CBEF13FF-5643-4769-A9E6-62647B4AB6E5}"/>
    <dgm:cxn modelId="{60089BFA-ABFB-41C4-8362-829322837BFC}" srcId="{DAFF2C44-B12B-49D7-A50E-A47D9473A0E1}" destId="{D45B5713-C9E3-48CD-8224-096840407275}" srcOrd="6" destOrd="0" parTransId="{23C28A71-13BC-48B5-8CF3-3C53EA372D77}" sibTransId="{B48B34E9-DF73-49F3-A61D-66E9C4B37A0D}"/>
    <dgm:cxn modelId="{B49B48BC-3F50-4D69-AE2A-C22CF915BBEA}" type="presParOf" srcId="{0FFC6578-6AFF-4C2F-9A27-1A5D9ABD14DD}" destId="{F547F576-EA07-4C27-88A0-F4B2B1F3E21A}" srcOrd="0" destOrd="0" presId="urn:microsoft.com/office/officeart/2005/8/layout/pList2"/>
    <dgm:cxn modelId="{DB25D72D-92EF-4EB0-A86A-6FFCA4DB70DA}" type="presParOf" srcId="{0FFC6578-6AFF-4C2F-9A27-1A5D9ABD14DD}" destId="{18AE2AE9-D57D-4D4C-A04C-7A323181FC47}" srcOrd="1" destOrd="0" presId="urn:microsoft.com/office/officeart/2005/8/layout/pList2"/>
    <dgm:cxn modelId="{2A0CF9D3-A829-45C9-B8BF-80FEA733C83C}" type="presParOf" srcId="{18AE2AE9-D57D-4D4C-A04C-7A323181FC47}" destId="{66158A41-0AE1-4849-B1D0-07EA59B1D522}" srcOrd="0" destOrd="0" presId="urn:microsoft.com/office/officeart/2005/8/layout/pList2"/>
    <dgm:cxn modelId="{D0F577FA-656D-4CD9-BB2D-077D2C3DF495}" type="presParOf" srcId="{66158A41-0AE1-4849-B1D0-07EA59B1D522}" destId="{6ED4B28F-CF99-4E75-BB63-F0555AA923E5}" srcOrd="0" destOrd="0" presId="urn:microsoft.com/office/officeart/2005/8/layout/pList2"/>
    <dgm:cxn modelId="{64B2DFC3-A811-4B87-867F-F0449C8C987C}" type="presParOf" srcId="{66158A41-0AE1-4849-B1D0-07EA59B1D522}" destId="{DD57649D-64ED-4946-B538-BCF3B30EDBC1}" srcOrd="1" destOrd="0" presId="urn:microsoft.com/office/officeart/2005/8/layout/pList2"/>
    <dgm:cxn modelId="{869FF9FB-D65B-4C98-A78B-7401FDA28F38}" type="presParOf" srcId="{66158A41-0AE1-4849-B1D0-07EA59B1D522}" destId="{A1633135-F24D-42D0-B06D-E984155A4749}" srcOrd="2" destOrd="0" presId="urn:microsoft.com/office/officeart/2005/8/layout/pList2"/>
    <dgm:cxn modelId="{C312E67A-B440-4EF6-A47B-E8BB02DAF4E4}" type="presParOf" srcId="{18AE2AE9-D57D-4D4C-A04C-7A323181FC47}" destId="{3FB3FE40-FDA6-4509-B370-FEDF6F201076}" srcOrd="1" destOrd="0" presId="urn:microsoft.com/office/officeart/2005/8/layout/pList2"/>
    <dgm:cxn modelId="{3C4A4808-EDC2-419B-AB37-83262735A50D}" type="presParOf" srcId="{18AE2AE9-D57D-4D4C-A04C-7A323181FC47}" destId="{E311D11B-3C24-4FC3-966E-FC31F5D9AF31}" srcOrd="2" destOrd="0" presId="urn:microsoft.com/office/officeart/2005/8/layout/pList2"/>
    <dgm:cxn modelId="{AC6F03FF-3F7B-413C-9A49-E910EDB5145B}" type="presParOf" srcId="{E311D11B-3C24-4FC3-966E-FC31F5D9AF31}" destId="{A82F117E-B3D5-4396-B90E-382772034A96}" srcOrd="0" destOrd="0" presId="urn:microsoft.com/office/officeart/2005/8/layout/pList2"/>
    <dgm:cxn modelId="{D19CC86F-E199-4C00-BFA4-78059FC08C4C}" type="presParOf" srcId="{E311D11B-3C24-4FC3-966E-FC31F5D9AF31}" destId="{4D55A817-05A4-4D3B-B885-BCE432E50DA0}" srcOrd="1" destOrd="0" presId="urn:microsoft.com/office/officeart/2005/8/layout/pList2"/>
    <dgm:cxn modelId="{537492CE-72AE-4156-A53F-A43FA6B9882F}" type="presParOf" srcId="{E311D11B-3C24-4FC3-966E-FC31F5D9AF31}" destId="{B1C4C8A6-7C87-4BBA-9B96-4AECC490FB78}" srcOrd="2" destOrd="0" presId="urn:microsoft.com/office/officeart/2005/8/layout/pList2"/>
    <dgm:cxn modelId="{E8DDE842-B81D-44AC-96D4-A4F46E59473C}" type="presParOf" srcId="{18AE2AE9-D57D-4D4C-A04C-7A323181FC47}" destId="{2A75DD47-C859-40B7-80B7-E8F9545A8C66}" srcOrd="3" destOrd="0" presId="urn:microsoft.com/office/officeart/2005/8/layout/pList2"/>
    <dgm:cxn modelId="{1BEB6F64-F91C-4D27-8074-B04B87AD0C56}" type="presParOf" srcId="{18AE2AE9-D57D-4D4C-A04C-7A323181FC47}" destId="{1AA9BE9E-9373-48ED-BC74-359D31ABD43E}" srcOrd="4" destOrd="0" presId="urn:microsoft.com/office/officeart/2005/8/layout/pList2"/>
    <dgm:cxn modelId="{13426682-FFC3-4B33-8200-AEEFF939BC13}" type="presParOf" srcId="{1AA9BE9E-9373-48ED-BC74-359D31ABD43E}" destId="{271202D5-A456-40C5-A701-9E04AE90C36E}" srcOrd="0" destOrd="0" presId="urn:microsoft.com/office/officeart/2005/8/layout/pList2"/>
    <dgm:cxn modelId="{CD0DFBEC-0279-416E-8986-30BFF9F1D4CA}" type="presParOf" srcId="{1AA9BE9E-9373-48ED-BC74-359D31ABD43E}" destId="{04B04E82-CF15-4F7B-A9F6-3D789B9A04C3}" srcOrd="1" destOrd="0" presId="urn:microsoft.com/office/officeart/2005/8/layout/pList2"/>
    <dgm:cxn modelId="{7EEA0C3E-F508-4B75-B9F6-A42FB0925806}" type="presParOf" srcId="{1AA9BE9E-9373-48ED-BC74-359D31ABD43E}" destId="{E2F2F494-7C1E-4EB9-949E-2724DD52EFF7}" srcOrd="2" destOrd="0" presId="urn:microsoft.com/office/officeart/2005/8/layout/pList2"/>
    <dgm:cxn modelId="{580D6200-ABCF-4736-B899-E15F656074B7}" type="presParOf" srcId="{18AE2AE9-D57D-4D4C-A04C-7A323181FC47}" destId="{05810072-7182-4305-88FB-C5693B8F29BD}" srcOrd="5" destOrd="0" presId="urn:microsoft.com/office/officeart/2005/8/layout/pList2"/>
    <dgm:cxn modelId="{9C15674D-E46F-4CAE-A757-7DDC0D30ECAC}" type="presParOf" srcId="{18AE2AE9-D57D-4D4C-A04C-7A323181FC47}" destId="{9F75840D-091B-45E2-91B6-91B96F41DF7A}" srcOrd="6" destOrd="0" presId="urn:microsoft.com/office/officeart/2005/8/layout/pList2"/>
    <dgm:cxn modelId="{A8A06408-EC4B-46AE-A92C-58C7A0A9DC08}" type="presParOf" srcId="{9F75840D-091B-45E2-91B6-91B96F41DF7A}" destId="{9179CC44-F60F-474E-B38D-2C0DA374C3B6}" srcOrd="0" destOrd="0" presId="urn:microsoft.com/office/officeart/2005/8/layout/pList2"/>
    <dgm:cxn modelId="{1AD25860-90A6-438E-8EC7-22D110D609EB}" type="presParOf" srcId="{9F75840D-091B-45E2-91B6-91B96F41DF7A}" destId="{033CDF97-953F-46A3-A9B9-95EF93062558}" srcOrd="1" destOrd="0" presId="urn:microsoft.com/office/officeart/2005/8/layout/pList2"/>
    <dgm:cxn modelId="{A9C38951-4B57-47CC-9784-8607962259F6}" type="presParOf" srcId="{9F75840D-091B-45E2-91B6-91B96F41DF7A}" destId="{FC81C282-4D13-4A13-B989-4C15CB6DFC39}" srcOrd="2" destOrd="0" presId="urn:microsoft.com/office/officeart/2005/8/layout/pList2"/>
    <dgm:cxn modelId="{D727BCD1-C598-41C0-9182-9AF9E1ACDE7A}" type="presParOf" srcId="{18AE2AE9-D57D-4D4C-A04C-7A323181FC47}" destId="{285F604A-615C-4C44-A7C7-B1BBF3A192B3}" srcOrd="7" destOrd="0" presId="urn:microsoft.com/office/officeart/2005/8/layout/pList2"/>
    <dgm:cxn modelId="{F2D680B5-951F-4A2D-B9CB-D2C30EEDAAD8}" type="presParOf" srcId="{18AE2AE9-D57D-4D4C-A04C-7A323181FC47}" destId="{C3026B13-0600-43AF-8FAF-7698A0A1829C}" srcOrd="8" destOrd="0" presId="urn:microsoft.com/office/officeart/2005/8/layout/pList2"/>
    <dgm:cxn modelId="{F375ECCF-8EF8-41B5-8188-A634616819E5}" type="presParOf" srcId="{C3026B13-0600-43AF-8FAF-7698A0A1829C}" destId="{301B0254-6307-4C95-BDD2-BB5AAD42A028}" srcOrd="0" destOrd="0" presId="urn:microsoft.com/office/officeart/2005/8/layout/pList2"/>
    <dgm:cxn modelId="{C764B4FC-1A1A-4430-B65C-9113D6F2D80A}" type="presParOf" srcId="{C3026B13-0600-43AF-8FAF-7698A0A1829C}" destId="{43C63A39-A1D3-427D-B2CC-83A6150898C0}" srcOrd="1" destOrd="0" presId="urn:microsoft.com/office/officeart/2005/8/layout/pList2"/>
    <dgm:cxn modelId="{68B82F10-22B8-4B11-BBE7-E45D1AD57A53}" type="presParOf" srcId="{C3026B13-0600-43AF-8FAF-7698A0A1829C}" destId="{78F0FA67-8758-4475-BF33-24E6F19AD3C7}" srcOrd="2" destOrd="0" presId="urn:microsoft.com/office/officeart/2005/8/layout/pList2"/>
    <dgm:cxn modelId="{D5CE548B-4FDF-468C-AF1A-F09070A2DE1E}" type="presParOf" srcId="{18AE2AE9-D57D-4D4C-A04C-7A323181FC47}" destId="{125A5DFF-3DBF-4430-A651-BC735CAC9490}" srcOrd="9" destOrd="0" presId="urn:microsoft.com/office/officeart/2005/8/layout/pList2"/>
    <dgm:cxn modelId="{2181D0AA-42A3-463C-9E33-A91B073BFF5A}" type="presParOf" srcId="{18AE2AE9-D57D-4D4C-A04C-7A323181FC47}" destId="{DEFE8D1F-C5D1-4E90-960B-F5C7F4B69CB2}" srcOrd="10" destOrd="0" presId="urn:microsoft.com/office/officeart/2005/8/layout/pList2"/>
    <dgm:cxn modelId="{31F42E7A-5E20-4BCE-8A7E-13ACFB7E6D6B}" type="presParOf" srcId="{DEFE8D1F-C5D1-4E90-960B-F5C7F4B69CB2}" destId="{2C26E93D-A6FF-4907-9693-38A2716E2566}" srcOrd="0" destOrd="0" presId="urn:microsoft.com/office/officeart/2005/8/layout/pList2"/>
    <dgm:cxn modelId="{75A884AD-7196-4979-860E-28AFECF0886E}" type="presParOf" srcId="{DEFE8D1F-C5D1-4E90-960B-F5C7F4B69CB2}" destId="{C640ABA9-B7EA-47BB-992C-F7EDAC2DE4A1}" srcOrd="1" destOrd="0" presId="urn:microsoft.com/office/officeart/2005/8/layout/pList2"/>
    <dgm:cxn modelId="{E3DEF495-5817-4475-90F1-35C591D74658}" type="presParOf" srcId="{DEFE8D1F-C5D1-4E90-960B-F5C7F4B69CB2}" destId="{35DAF262-624E-4004-BF14-87CFC68DE678}" srcOrd="2" destOrd="0" presId="urn:microsoft.com/office/officeart/2005/8/layout/pList2"/>
    <dgm:cxn modelId="{F645F776-5EB7-4ADE-9092-224DC5AB4D06}" type="presParOf" srcId="{18AE2AE9-D57D-4D4C-A04C-7A323181FC47}" destId="{6A1C09AA-600C-4CCA-A140-A55BBA6F41AC}" srcOrd="11" destOrd="0" presId="urn:microsoft.com/office/officeart/2005/8/layout/pList2"/>
    <dgm:cxn modelId="{E734DBD8-53B5-4B6A-95A2-21B3F367ADD5}" type="presParOf" srcId="{18AE2AE9-D57D-4D4C-A04C-7A323181FC47}" destId="{70C595E6-F7D9-457B-ACA6-F6B65E296F8C}" srcOrd="12" destOrd="0" presId="urn:microsoft.com/office/officeart/2005/8/layout/pList2"/>
    <dgm:cxn modelId="{10F7593E-F19C-4359-9EF9-1A3EC6260CD9}" type="presParOf" srcId="{70C595E6-F7D9-457B-ACA6-F6B65E296F8C}" destId="{C167D775-3BE5-44AE-853E-255E9212D3A5}" srcOrd="0" destOrd="0" presId="urn:microsoft.com/office/officeart/2005/8/layout/pList2"/>
    <dgm:cxn modelId="{B03AEE08-BBE4-4A83-948C-F6462094AD61}" type="presParOf" srcId="{70C595E6-F7D9-457B-ACA6-F6B65E296F8C}" destId="{BA87F3D0-65E6-4A96-BBFB-FDB71478162B}" srcOrd="1" destOrd="0" presId="urn:microsoft.com/office/officeart/2005/8/layout/pList2"/>
    <dgm:cxn modelId="{43BBB0EF-0C66-4E09-A06B-F5AE40B70978}" type="presParOf" srcId="{70C595E6-F7D9-457B-ACA6-F6B65E296F8C}" destId="{FF06392C-DCDA-435B-9158-5C85D2361A8F}" srcOrd="2" destOrd="0" presId="urn:microsoft.com/office/officeart/2005/8/layout/pList2"/>
    <dgm:cxn modelId="{FC63D5F7-C98A-42A4-ACCD-1EE38F41D8DC}" type="presParOf" srcId="{18AE2AE9-D57D-4D4C-A04C-7A323181FC47}" destId="{2D79C329-62B6-483D-80CF-472F30DC0C08}" srcOrd="13" destOrd="0" presId="urn:microsoft.com/office/officeart/2005/8/layout/pList2"/>
    <dgm:cxn modelId="{316FD802-0194-41BA-BD5E-3B090CAF7C00}" type="presParOf" srcId="{18AE2AE9-D57D-4D4C-A04C-7A323181FC47}" destId="{B8ABB218-43E9-4455-BBF6-B28FF45FC4A7}" srcOrd="14" destOrd="0" presId="urn:microsoft.com/office/officeart/2005/8/layout/pList2"/>
    <dgm:cxn modelId="{EFF17CE7-A29F-4FAE-A92A-7C1D4B5392E9}" type="presParOf" srcId="{B8ABB218-43E9-4455-BBF6-B28FF45FC4A7}" destId="{7F6B14BB-FC4F-43F9-85FF-E90AB03C8D7C}" srcOrd="0" destOrd="0" presId="urn:microsoft.com/office/officeart/2005/8/layout/pList2"/>
    <dgm:cxn modelId="{3DE42859-8C66-4F1F-A0C9-564DA9EC7C45}" type="presParOf" srcId="{B8ABB218-43E9-4455-BBF6-B28FF45FC4A7}" destId="{CE61BFDC-BFC6-4BC2-A531-F9F3F8F180FB}" srcOrd="1" destOrd="0" presId="urn:microsoft.com/office/officeart/2005/8/layout/pList2"/>
    <dgm:cxn modelId="{00C4E281-01F9-4840-A9C4-67A8B22D563B}" type="presParOf" srcId="{B8ABB218-43E9-4455-BBF6-B28FF45FC4A7}" destId="{76964685-8EA3-48C5-89DE-E5396FD880C4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7F576-EA07-4C27-88A0-F4B2B1F3E21A}">
      <dsp:nvSpPr>
        <dsp:cNvPr id="0" name=""/>
        <dsp:cNvSpPr/>
      </dsp:nvSpPr>
      <dsp:spPr>
        <a:xfrm>
          <a:off x="0" y="-522720"/>
          <a:ext cx="11860887" cy="5104846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633135-F24D-42D0-B06D-E984155A4749}">
      <dsp:nvSpPr>
        <dsp:cNvPr id="0" name=""/>
        <dsp:cNvSpPr/>
      </dsp:nvSpPr>
      <dsp:spPr>
        <a:xfrm>
          <a:off x="356992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D4B28F-CF99-4E75-BB63-F0555AA923E5}">
      <dsp:nvSpPr>
        <dsp:cNvPr id="0" name=""/>
        <dsp:cNvSpPr/>
      </dsp:nvSpPr>
      <dsp:spPr>
        <a:xfrm rot="10800000">
          <a:off x="385050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  <a:cs typeface="Arial" panose="020B0604020202020204" pitchFamily="34" charset="0"/>
            </a:rPr>
            <a:t>1. 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 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2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sp:txBody>
      <dsp:txXfrm rot="10800000">
        <a:off x="424397" y="2306447"/>
        <a:ext cx="1200747" cy="3155779"/>
      </dsp:txXfrm>
    </dsp:sp>
    <dsp:sp modelId="{B1C4C8A6-7C87-4BBA-9B96-4AECC490FB78}">
      <dsp:nvSpPr>
        <dsp:cNvPr id="0" name=""/>
        <dsp:cNvSpPr/>
      </dsp:nvSpPr>
      <dsp:spPr>
        <a:xfrm>
          <a:off x="1769034" y="0"/>
          <a:ext cx="1279441" cy="2196113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F117E-B3D5-4396-B90E-382772034A96}">
      <dsp:nvSpPr>
        <dsp:cNvPr id="0" name=""/>
        <dsp:cNvSpPr/>
      </dsp:nvSpPr>
      <dsp:spPr>
        <a:xfrm rot="10800000">
          <a:off x="1792934" y="2317341"/>
          <a:ext cx="1279441" cy="317659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1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2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sp:txBody>
      <dsp:txXfrm rot="10800000">
        <a:off x="1832281" y="2317341"/>
        <a:ext cx="1200747" cy="3137249"/>
      </dsp:txXfrm>
    </dsp:sp>
    <dsp:sp modelId="{E2F2F494-7C1E-4EB9-949E-2724DD52EFF7}">
      <dsp:nvSpPr>
        <dsp:cNvPr id="0" name=""/>
        <dsp:cNvSpPr/>
      </dsp:nvSpPr>
      <dsp:spPr>
        <a:xfrm>
          <a:off x="3171763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1202D5-A456-40C5-A701-9E04AE90C36E}">
      <dsp:nvSpPr>
        <dsp:cNvPr id="0" name=""/>
        <dsp:cNvSpPr/>
      </dsp:nvSpPr>
      <dsp:spPr>
        <a:xfrm rot="10800000">
          <a:off x="3199821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1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lægger skemaet</a:t>
          </a:r>
          <a:endParaRPr lang="da-DK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2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sp:txBody>
      <dsp:txXfrm rot="10800000">
        <a:off x="3239168" y="2306447"/>
        <a:ext cx="1200747" cy="3155779"/>
      </dsp:txXfrm>
    </dsp:sp>
    <dsp:sp modelId="{FC81C282-4D13-4A13-B989-4C15CB6DFC39}">
      <dsp:nvSpPr>
        <dsp:cNvPr id="0" name=""/>
        <dsp:cNvSpPr/>
      </dsp:nvSpPr>
      <dsp:spPr>
        <a:xfrm>
          <a:off x="4579148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79CC44-F60F-474E-B38D-2C0DA374C3B6}">
      <dsp:nvSpPr>
        <dsp:cNvPr id="0" name=""/>
        <dsp:cNvSpPr/>
      </dsp:nvSpPr>
      <dsp:spPr>
        <a:xfrm rot="10800000">
          <a:off x="4607206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1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vikardækker akut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2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vikardækker planlagt fravær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3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overfører løn til timelønnet personale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4.</a:t>
          </a:r>
          <a:endParaRPr lang="da-DK" sz="900" kern="1200" dirty="0">
            <a:latin typeface="+mj-lt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>
            <a:latin typeface="+mj-lt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/>
        </a:p>
      </dsp:txBody>
      <dsp:txXfrm rot="10800000">
        <a:off x="4646553" y="2306447"/>
        <a:ext cx="1200747" cy="3155779"/>
      </dsp:txXfrm>
    </dsp:sp>
    <dsp:sp modelId="{78F0FA67-8758-4475-BF33-24E6F19AD3C7}">
      <dsp:nvSpPr>
        <dsp:cNvPr id="0" name=""/>
        <dsp:cNvSpPr/>
      </dsp:nvSpPr>
      <dsp:spPr>
        <a:xfrm>
          <a:off x="5975032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1B0254-6307-4C95-BDD2-BB5AAD42A028}">
      <dsp:nvSpPr>
        <dsp:cNvPr id="0" name=""/>
        <dsp:cNvSpPr/>
      </dsp:nvSpPr>
      <dsp:spPr>
        <a:xfrm rot="10800000">
          <a:off x="6014592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1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vikardækker akut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2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vikardækker planlagt fravær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3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Personen, der overfører løn til timelønnet personale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Scala Sans Black" pitchFamily="50" charset="0"/>
            </a:rPr>
            <a:t>4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Administrativ leder</a:t>
          </a:r>
        </a:p>
      </dsp:txBody>
      <dsp:txXfrm rot="10800000">
        <a:off x="6053939" y="2306447"/>
        <a:ext cx="1200747" cy="3155779"/>
      </dsp:txXfrm>
    </dsp:sp>
    <dsp:sp modelId="{35DAF262-624E-4004-BF14-87CFC68DE678}">
      <dsp:nvSpPr>
        <dsp:cNvPr id="0" name=""/>
        <dsp:cNvSpPr/>
      </dsp:nvSpPr>
      <dsp:spPr>
        <a:xfrm>
          <a:off x="7393919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26E93D-A6FF-4907-9693-38A2716E2566}">
      <dsp:nvSpPr>
        <dsp:cNvPr id="0" name=""/>
        <dsp:cNvSpPr/>
      </dsp:nvSpPr>
      <dsp:spPr>
        <a:xfrm rot="10800000">
          <a:off x="7421977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Besøg af Lone Udengaard fra Personale</a:t>
          </a:r>
        </a:p>
      </dsp:txBody>
      <dsp:txXfrm rot="10800000">
        <a:off x="7461324" y="2306447"/>
        <a:ext cx="1200747" cy="3155779"/>
      </dsp:txXfrm>
    </dsp:sp>
    <dsp:sp modelId="{FF06392C-DCDA-435B-9158-5C85D2361A8F}">
      <dsp:nvSpPr>
        <dsp:cNvPr id="0" name=""/>
        <dsp:cNvSpPr/>
      </dsp:nvSpPr>
      <dsp:spPr>
        <a:xfrm>
          <a:off x="8801305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67D775-3BE5-44AE-853E-255E9212D3A5}">
      <dsp:nvSpPr>
        <dsp:cNvPr id="0" name=""/>
        <dsp:cNvSpPr/>
      </dsp:nvSpPr>
      <dsp:spPr>
        <a:xfrm rot="10800000">
          <a:off x="8801599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Der afholdes </a:t>
          </a:r>
          <a:r>
            <a:rPr lang="da-DK" sz="900" kern="1200" dirty="0" err="1">
              <a:latin typeface="Arial" panose="020B0604020202020204" pitchFamily="34" charset="0"/>
              <a:cs typeface="Arial" panose="020B0604020202020204" pitchFamily="34" charset="0"/>
            </a:rPr>
            <a:t>erfa</a:t>
          </a: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-møde for de 5 skoler på holdet, hvor de involverede personer kan dele erfaringer, sparre med hinanden om udfordringer samt dele tips &amp; tricks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Skolerne skiftes til at være værter for møderne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Martine og Lone planlægger og faciliterer</a:t>
          </a:r>
        </a:p>
      </dsp:txBody>
      <dsp:txXfrm rot="10800000">
        <a:off x="8840946" y="2306447"/>
        <a:ext cx="1200747" cy="3155779"/>
      </dsp:txXfrm>
    </dsp:sp>
    <dsp:sp modelId="{76964685-8EA3-48C5-89DE-E5396FD880C4}">
      <dsp:nvSpPr>
        <dsp:cNvPr id="0" name=""/>
        <dsp:cNvSpPr/>
      </dsp:nvSpPr>
      <dsp:spPr>
        <a:xfrm>
          <a:off x="10208690" y="0"/>
          <a:ext cx="1279441" cy="219680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6B14BB-FC4F-43F9-85FF-E90AB03C8D7C}">
      <dsp:nvSpPr>
        <dsp:cNvPr id="0" name=""/>
        <dsp:cNvSpPr/>
      </dsp:nvSpPr>
      <dsp:spPr>
        <a:xfrm rot="10800000">
          <a:off x="10182142" y="2306447"/>
          <a:ext cx="1279441" cy="3195126"/>
        </a:xfrm>
        <a:prstGeom prst="round2SameRect">
          <a:avLst>
            <a:gd name="adj1" fmla="val 10500"/>
            <a:gd name="adj2" fmla="val 0"/>
          </a:avLst>
        </a:prstGeom>
        <a:solidFill>
          <a:srgbClr val="EF9304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>
              <a:latin typeface="Scala Sans Black" pitchFamily="50" charset="0"/>
            </a:rPr>
            <a:t>HVEM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Der afholdes </a:t>
          </a:r>
          <a:r>
            <a:rPr lang="da-DK" sz="900" kern="1200" dirty="0" err="1">
              <a:latin typeface="Arial" panose="020B0604020202020204" pitchFamily="34" charset="0"/>
              <a:cs typeface="Arial" panose="020B0604020202020204" pitchFamily="34" charset="0"/>
            </a:rPr>
            <a:t>erfa</a:t>
          </a: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-møde for de 5 skoler på holdet, hvor de involverede personer kan dele erfaringer, sparre med hinanden om udfordringer samt dele tips &amp; tricks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Skolerne skiftes til at være værter for møderne.</a:t>
          </a: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9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kern="1200" dirty="0">
              <a:latin typeface="Arial" panose="020B0604020202020204" pitchFamily="34" charset="0"/>
              <a:cs typeface="Arial" panose="020B0604020202020204" pitchFamily="34" charset="0"/>
            </a:rPr>
            <a:t>Martine og Lone planlægger og faciliterer</a:t>
          </a:r>
          <a:endParaRPr lang="da-DK" sz="900" kern="1200" dirty="0"/>
        </a:p>
      </dsp:txBody>
      <dsp:txXfrm rot="10800000">
        <a:off x="10221489" y="2306447"/>
        <a:ext cx="1200747" cy="31557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4A8CE-FFDF-44C0-8F5A-70E4A7AE1B50}" type="datetimeFigureOut">
              <a:rPr lang="da-DK" smtClean="0"/>
              <a:pPr/>
              <a:t>24-01-2019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01B631-C295-44BA-8AB7-BBE7B564BF0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69962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2B80C-13EF-419E-A015-CBBA7FBE60E5}" type="datetimeFigureOut">
              <a:rPr lang="da-DK" smtClean="0"/>
              <a:pPr/>
              <a:t>24-01-2019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F77642-5555-409E-8D7B-A8D67DB3DACA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06896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76908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12401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62296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11839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64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1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6432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6432000" y="1440000"/>
            <a:ext cx="4800000" cy="432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4604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6432000" y="1440000"/>
            <a:ext cx="4800000" cy="180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7"/>
          </p:nvPr>
        </p:nvSpPr>
        <p:spPr>
          <a:xfrm>
            <a:off x="6432000" y="3960000"/>
            <a:ext cx="4800000" cy="180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308581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960000" y="1440000"/>
            <a:ext cx="10272000" cy="432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4207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4617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08B7CE-B540-41F5-BA8F-DED4323DD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A80D1D3-9AFA-4DE7-94BE-E0EC11D432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A2C5CD-8A39-48B5-8113-6B9A1E9C8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ABBCF-92CE-413A-90A3-3DC155F2795F}" type="datetimeFigureOut">
              <a:rPr lang="da-DK" smtClean="0"/>
              <a:t>24-01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0B33EF2-7310-40B1-B92B-1E390BE9F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76DD9CF-ACC6-40DA-B16F-2807C2BFC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969D8-7DAE-41E2-B519-E4AA9E4B0D9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4047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10272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6432000" y="1440000"/>
            <a:ext cx="4800000" cy="432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6432000" y="1440000"/>
            <a:ext cx="4800000" cy="180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7"/>
          </p:nvPr>
        </p:nvSpPr>
        <p:spPr>
          <a:xfrm>
            <a:off x="6432000" y="3960000"/>
            <a:ext cx="4800000" cy="180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6"/>
          </p:nvPr>
        </p:nvSpPr>
        <p:spPr>
          <a:xfrm>
            <a:off x="960000" y="1440000"/>
            <a:ext cx="10272000" cy="4320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da-DK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08B7CE-B540-41F5-BA8F-DED4323DD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A80D1D3-9AFA-4DE7-94BE-E0EC11D432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A2C5CD-8A39-48B5-8113-6B9A1E9C8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ABBCF-92CE-413A-90A3-3DC155F2795F}" type="datetimeFigureOut">
              <a:rPr lang="da-DK" smtClean="0"/>
              <a:t>24-01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0B33EF2-7310-40B1-B92B-1E390BE9F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76DD9CF-ACC6-40DA-B16F-2807C2BFC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969D8-7DAE-41E2-B519-E4AA9E4B0D9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0833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1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6432000" y="1440000"/>
            <a:ext cx="4800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389587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960000" y="1440000"/>
            <a:ext cx="10272000" cy="4320000"/>
          </a:xfrm>
        </p:spPr>
        <p:txBody>
          <a:bodyPr>
            <a:noAutofit/>
          </a:bodyPr>
          <a:lstStyle>
            <a:lvl1pPr>
              <a:buFontTx/>
              <a:buNone/>
              <a:defRPr sz="1800">
                <a:latin typeface="+mn-lt"/>
              </a:defRPr>
            </a:lvl1pPr>
            <a:lvl2pPr>
              <a:buFontTx/>
              <a:buNone/>
              <a:defRPr sz="1800">
                <a:latin typeface="+mn-lt"/>
              </a:defRPr>
            </a:lvl2pPr>
            <a:lvl3pPr>
              <a:buFontTx/>
              <a:buNone/>
              <a:defRPr sz="1800">
                <a:latin typeface="+mn-lt"/>
              </a:defRPr>
            </a:lvl3pPr>
            <a:lvl4pPr>
              <a:buFontTx/>
              <a:buNone/>
              <a:defRPr sz="1800">
                <a:latin typeface="+mn-lt"/>
              </a:defRPr>
            </a:lvl4pPr>
            <a:lvl5pPr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da-DK" dirty="0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960000" y="-1"/>
            <a:ext cx="8880000" cy="1080000"/>
          </a:xfrm>
        </p:spPr>
        <p:txBody>
          <a:bodyPr anchor="ctr" anchorCtr="0">
            <a:noAutofit/>
          </a:bodyPr>
          <a:lstStyle>
            <a:lvl1pPr>
              <a:buNone/>
              <a:defRPr sz="20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20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20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20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20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356885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59139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38" imgH="338" progId="TCLayout.ActiveDocument.1">
                  <p:embed/>
                </p:oleObj>
              </mc:Choice>
              <mc:Fallback>
                <p:oleObj name="think-cell Slide" r:id="rId11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60301B-8F0F-4287-830C-3882B4C954B2}" type="datetimeFigureOut">
              <a:rPr lang="da-DK" smtClean="0"/>
              <a:pPr/>
              <a:t>24-0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85C5F-2DF9-43CA-9291-FBCE84F701DB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5"/>
            <a:ext cx="12313920" cy="698199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9" r:id="rId2"/>
    <p:sldLayoutId id="2147483697" r:id="rId3"/>
    <p:sldLayoutId id="2147483700" r:id="rId4"/>
    <p:sldLayoutId id="2147483698" r:id="rId5"/>
    <p:sldLayoutId id="2147483696" r:id="rId6"/>
    <p:sldLayoutId id="2147483701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1" imgW="338" imgH="338" progId="TCLayout.ActiveDocument.1">
                  <p:embed/>
                </p:oleObj>
              </mc:Choice>
              <mc:Fallback>
                <p:oleObj name="think-cell Slide" r:id="rId11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60301B-8F0F-4287-830C-3882B4C954B2}" type="datetimeFigureOut">
              <a:rPr lang="da-DK" smtClean="0"/>
              <a:pPr/>
              <a:t>24-0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85C5F-2DF9-43CA-9291-FBCE84F701DB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5"/>
            <a:ext cx="12313920" cy="6981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073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26" Type="http://schemas.openxmlformats.org/officeDocument/2006/relationships/image" Target="../media/image25.svg"/><Relationship Id="rId3" Type="http://schemas.openxmlformats.org/officeDocument/2006/relationships/diagramLayout" Target="../diagrams/layout1.xml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5" Type="http://schemas.openxmlformats.org/officeDocument/2006/relationships/image" Target="../media/image24.png"/><Relationship Id="rId2" Type="http://schemas.openxmlformats.org/officeDocument/2006/relationships/diagramData" Target="../diagrams/data1.xml"/><Relationship Id="rId16" Type="http://schemas.openxmlformats.org/officeDocument/2006/relationships/image" Target="../media/image15.svg"/><Relationship Id="rId20" Type="http://schemas.openxmlformats.org/officeDocument/2006/relationships/image" Target="../media/image19.svg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image" Target="../media/image10.png"/><Relationship Id="rId24" Type="http://schemas.openxmlformats.org/officeDocument/2006/relationships/image" Target="../media/image23.svg"/><Relationship Id="rId5" Type="http://schemas.openxmlformats.org/officeDocument/2006/relationships/diagramColors" Target="../diagrams/colors1.xml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28" Type="http://schemas.openxmlformats.org/officeDocument/2006/relationships/image" Target="../media/image27.svg"/><Relationship Id="rId10" Type="http://schemas.openxmlformats.org/officeDocument/2006/relationships/image" Target="../media/image9.svg"/><Relationship Id="rId19" Type="http://schemas.openxmlformats.org/officeDocument/2006/relationships/image" Target="../media/image18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.png"/><Relationship Id="rId14" Type="http://schemas.openxmlformats.org/officeDocument/2006/relationships/image" Target="../media/image13.svg"/><Relationship Id="rId22" Type="http://schemas.openxmlformats.org/officeDocument/2006/relationships/image" Target="../media/image21.svg"/><Relationship Id="rId27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960000" y="260768"/>
            <a:ext cx="8880000" cy="1080000"/>
          </a:xfrm>
        </p:spPr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kickoff vikardækning i Trio</a:t>
            </a:r>
          </a:p>
          <a:p>
            <a:r>
              <a:rPr lang="da-DK" sz="1600" b="0" dirty="0">
                <a:latin typeface="Scala Sans Black" pitchFamily="50" charset="0"/>
              </a:rPr>
              <a:t>26. November 2018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4CEDD33A-154B-4BD7-A6E5-BA0A55468292}"/>
              </a:ext>
            </a:extLst>
          </p:cNvPr>
          <p:cNvSpPr txBox="1"/>
          <p:nvPr/>
        </p:nvSpPr>
        <p:spPr>
          <a:xfrm>
            <a:off x="5384044" y="2060848"/>
            <a:ext cx="3969996" cy="3046988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Strandskolen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Elev Skole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 err="1">
                <a:solidFill>
                  <a:schemeClr val="bg1"/>
                </a:solidFill>
                <a:latin typeface="Scala Sans Black" pitchFamily="50" charset="0"/>
              </a:rPr>
              <a:t>Hårup</a:t>
            </a: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 Skole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Højvangskolen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 err="1">
                <a:solidFill>
                  <a:schemeClr val="bg1"/>
                </a:solidFill>
                <a:latin typeface="Scala Sans Black" pitchFamily="50" charset="0"/>
              </a:rPr>
              <a:t>Gammelgaardsskolen</a:t>
            </a:r>
            <a:endParaRPr lang="da-DK" sz="2400" dirty="0">
              <a:solidFill>
                <a:schemeClr val="bg1"/>
              </a:solidFill>
              <a:latin typeface="Scala Sans Black" pitchFamily="50" charset="0"/>
            </a:endParaRP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Rosenvangskolen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Skåde Skole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bg1"/>
                </a:solidFill>
                <a:latin typeface="Scala Sans Black" pitchFamily="50" charset="0"/>
              </a:rPr>
              <a:t>Katrinebjergskolen</a:t>
            </a:r>
            <a:endParaRPr lang="da-DK" dirty="0">
              <a:solidFill>
                <a:schemeClr val="bg1"/>
              </a:solidFill>
              <a:latin typeface="Scala Sans Black" pitchFamily="50" charset="0"/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E76E4E4-DE82-44D7-B099-57D22F8E82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2" y="1401790"/>
            <a:ext cx="2353732" cy="436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76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960000" y="260768"/>
            <a:ext cx="8880000" cy="1080000"/>
          </a:xfrm>
        </p:spPr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baggrund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4F1713CE-5E0B-43E8-A3CD-EECBFAD63A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564904"/>
            <a:ext cx="2160240" cy="714541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4CEDD33A-154B-4BD7-A6E5-BA0A55468292}"/>
              </a:ext>
            </a:extLst>
          </p:cNvPr>
          <p:cNvSpPr txBox="1"/>
          <p:nvPr/>
        </p:nvSpPr>
        <p:spPr>
          <a:xfrm>
            <a:off x="973876" y="1772816"/>
            <a:ext cx="7354372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Vikardækning foretages i dag direkte i </a:t>
            </a:r>
            <a:r>
              <a:rPr lang="da-DK" sz="2000" dirty="0" err="1">
                <a:latin typeface="Scala Sans Black" pitchFamily="50" charset="0"/>
              </a:rPr>
              <a:t>Intra</a:t>
            </a:r>
            <a:endParaRPr lang="da-DK" sz="2000" dirty="0">
              <a:latin typeface="Scala Sans Black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Der kan ikke vikardækkes i Aula</a:t>
            </a:r>
          </a:p>
          <a:p>
            <a:endParaRPr lang="da-DK" sz="2000" dirty="0">
              <a:latin typeface="Scala Sans Black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I foråret 2019 begynder udrulning af Aula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Uddannel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Skolerne begynder at lægge data ind i Au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>
              <a:latin typeface="Scala Sans Black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SkoleIntra lukkes 31. juli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Efter sommerferien 2019 tages Aula i brug på alle skoler</a:t>
            </a:r>
          </a:p>
          <a:p>
            <a:endParaRPr lang="da-DK" dirty="0">
              <a:latin typeface="Scala Sans Black" pitchFamily="50" charset="0"/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F6EAC8F6-7506-4702-98C0-5924CD24F3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4005064"/>
            <a:ext cx="1606665" cy="649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516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C8E9460-8FED-468C-A918-DC82E78085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5438981"/>
              </p:ext>
            </p:extLst>
          </p:nvPr>
        </p:nvGraphicFramePr>
        <p:xfrm>
          <a:off x="151309" y="664421"/>
          <a:ext cx="11860887" cy="51048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Grafik 5" descr="Information">
            <a:extLst>
              <a:ext uri="{FF2B5EF4-FFF2-40B4-BE49-F238E27FC236}">
                <a16:creationId xmlns:a16="http://schemas.microsoft.com/office/drawing/2014/main" id="{4F193E81-E75C-4951-9AFB-5B56DB085C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25726" y="799062"/>
            <a:ext cx="1265334" cy="1265334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3C5EAA67-0DFD-40E2-91F3-14FF35360BB9}"/>
              </a:ext>
            </a:extLst>
          </p:cNvPr>
          <p:cNvSpPr txBox="1"/>
          <p:nvPr/>
        </p:nvSpPr>
        <p:spPr>
          <a:xfrm>
            <a:off x="1940808" y="2497346"/>
            <a:ext cx="1243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OPSTARTSMØDE: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TRIO OG SKEMA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88D7F805-CDBD-4C42-8223-AF4D1EFF63D5}"/>
              </a:ext>
            </a:extLst>
          </p:cNvPr>
          <p:cNvSpPr txBox="1"/>
          <p:nvPr/>
        </p:nvSpPr>
        <p:spPr>
          <a:xfrm>
            <a:off x="3335342" y="2517624"/>
            <a:ext cx="1243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HJEMMEARBEJDE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I TRIO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BEE8303-0980-447C-A863-526175BAD64E}"/>
              </a:ext>
            </a:extLst>
          </p:cNvPr>
          <p:cNvSpPr txBox="1"/>
          <p:nvPr/>
        </p:nvSpPr>
        <p:spPr>
          <a:xfrm>
            <a:off x="4750449" y="2512232"/>
            <a:ext cx="1243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WORKSHOP: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VIKARDÆKNING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04B2673-5B6C-48C5-83DF-ECDAD5D0AE71}"/>
              </a:ext>
            </a:extLst>
          </p:cNvPr>
          <p:cNvSpPr txBox="1"/>
          <p:nvPr/>
        </p:nvSpPr>
        <p:spPr>
          <a:xfrm>
            <a:off x="6140957" y="2095428"/>
            <a:ext cx="124332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VIKARDÆKNING OG OVERFØRSEL AF LØN TIL TIMELØNNEDE DIREKTE FRA TRIO 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8EA9F598-1F8E-427D-8014-51E39CE5AF9B}"/>
              </a:ext>
            </a:extLst>
          </p:cNvPr>
          <p:cNvSpPr txBox="1"/>
          <p:nvPr/>
        </p:nvSpPr>
        <p:spPr>
          <a:xfrm>
            <a:off x="7568469" y="2233927"/>
            <a:ext cx="12433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SIDEMANDS-OPLÆRING: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OVERFØRSEL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TIL LØN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58C90080-DB31-4008-8EB5-C28EDCE23748}"/>
              </a:ext>
            </a:extLst>
          </p:cNvPr>
          <p:cNvSpPr txBox="1"/>
          <p:nvPr/>
        </p:nvSpPr>
        <p:spPr>
          <a:xfrm>
            <a:off x="8972968" y="2362620"/>
            <a:ext cx="12433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ERFA-MØDE 1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PÅ EGEN ELLER NABOSKOLE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86A3A6EC-BA17-4F51-A28F-369555C04594}"/>
              </a:ext>
            </a:extLst>
          </p:cNvPr>
          <p:cNvSpPr txBox="1"/>
          <p:nvPr/>
        </p:nvSpPr>
        <p:spPr>
          <a:xfrm>
            <a:off x="10396118" y="2355880"/>
            <a:ext cx="12433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ERFA-MØDE 2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PÅ EGEN ELLER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NABOSKOLE</a:t>
            </a:r>
          </a:p>
        </p:txBody>
      </p:sp>
      <p:pic>
        <p:nvPicPr>
          <p:cNvPr id="18" name="Grafik 17" descr="Skolebygning">
            <a:extLst>
              <a:ext uri="{FF2B5EF4-FFF2-40B4-BE49-F238E27FC236}">
                <a16:creationId xmlns:a16="http://schemas.microsoft.com/office/drawing/2014/main" id="{EE8FBEEC-CA08-4B70-A482-3143C2F5C1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98758" y="1157529"/>
            <a:ext cx="914400" cy="914400"/>
          </a:xfrm>
          <a:prstGeom prst="rect">
            <a:avLst/>
          </a:prstGeom>
        </p:spPr>
      </p:pic>
      <p:pic>
        <p:nvPicPr>
          <p:cNvPr id="16" name="Grafik 15" descr="Tjekliste">
            <a:extLst>
              <a:ext uri="{FF2B5EF4-FFF2-40B4-BE49-F238E27FC236}">
                <a16:creationId xmlns:a16="http://schemas.microsoft.com/office/drawing/2014/main" id="{66AC2141-791F-4613-AF8E-A68B782C3D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375924">
            <a:off x="3941116" y="873363"/>
            <a:ext cx="568333" cy="568333"/>
          </a:xfrm>
          <a:prstGeom prst="rect">
            <a:avLst/>
          </a:prstGeom>
        </p:spPr>
      </p:pic>
      <p:pic>
        <p:nvPicPr>
          <p:cNvPr id="20" name="Grafik 19" descr="Værktøjer">
            <a:extLst>
              <a:ext uri="{FF2B5EF4-FFF2-40B4-BE49-F238E27FC236}">
                <a16:creationId xmlns:a16="http://schemas.microsoft.com/office/drawing/2014/main" id="{1673FAA7-A5B6-436E-B7C6-B9A07CA2E0C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47379" y="906518"/>
            <a:ext cx="1146391" cy="1146391"/>
          </a:xfrm>
          <a:prstGeom prst="rect">
            <a:avLst/>
          </a:prstGeom>
        </p:spPr>
      </p:pic>
      <p:pic>
        <p:nvPicPr>
          <p:cNvPr id="22" name="Grafik 21" descr="Medarbejderskilt">
            <a:extLst>
              <a:ext uri="{FF2B5EF4-FFF2-40B4-BE49-F238E27FC236}">
                <a16:creationId xmlns:a16="http://schemas.microsoft.com/office/drawing/2014/main" id="{85E647C7-45CC-46C4-BBFC-90F4716DA84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80293" y="1242005"/>
            <a:ext cx="822391" cy="822391"/>
          </a:xfrm>
          <a:prstGeom prst="rect">
            <a:avLst/>
          </a:prstGeom>
        </p:spPr>
      </p:pic>
      <p:pic>
        <p:nvPicPr>
          <p:cNvPr id="24" name="Grafik 23" descr="Mønter">
            <a:extLst>
              <a:ext uri="{FF2B5EF4-FFF2-40B4-BE49-F238E27FC236}">
                <a16:creationId xmlns:a16="http://schemas.microsoft.com/office/drawing/2014/main" id="{0A2A5420-1228-490E-B139-9C60AE030FA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00057" y="795862"/>
            <a:ext cx="726566" cy="726566"/>
          </a:xfrm>
          <a:prstGeom prst="rect">
            <a:avLst/>
          </a:prstGeom>
        </p:spPr>
      </p:pic>
      <p:pic>
        <p:nvPicPr>
          <p:cNvPr id="26" name="Grafik 25" descr="Bruger">
            <a:extLst>
              <a:ext uri="{FF2B5EF4-FFF2-40B4-BE49-F238E27FC236}">
                <a16:creationId xmlns:a16="http://schemas.microsoft.com/office/drawing/2014/main" id="{FCB90B8E-9F97-4146-855D-95879D5ACA4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680295" y="1472104"/>
            <a:ext cx="638296" cy="638296"/>
          </a:xfrm>
          <a:prstGeom prst="rect">
            <a:avLst/>
          </a:prstGeom>
        </p:spPr>
      </p:pic>
      <p:pic>
        <p:nvPicPr>
          <p:cNvPr id="27" name="Grafik 26" descr="Bruger">
            <a:extLst>
              <a:ext uri="{FF2B5EF4-FFF2-40B4-BE49-F238E27FC236}">
                <a16:creationId xmlns:a16="http://schemas.microsoft.com/office/drawing/2014/main" id="{BB9B7FFA-8264-4895-8913-655EA3C54B1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08095" y="1472104"/>
            <a:ext cx="638296" cy="638296"/>
          </a:xfrm>
          <a:prstGeom prst="rect">
            <a:avLst/>
          </a:prstGeom>
        </p:spPr>
      </p:pic>
      <p:pic>
        <p:nvPicPr>
          <p:cNvPr id="33" name="Grafik 32" descr="Information">
            <a:extLst>
              <a:ext uri="{FF2B5EF4-FFF2-40B4-BE49-F238E27FC236}">
                <a16:creationId xmlns:a16="http://schemas.microsoft.com/office/drawing/2014/main" id="{70A75316-E0E1-427E-938E-F02B750500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60905" y="938883"/>
            <a:ext cx="639236" cy="639236"/>
          </a:xfrm>
          <a:prstGeom prst="rect">
            <a:avLst/>
          </a:prstGeom>
        </p:spPr>
      </p:pic>
      <p:pic>
        <p:nvPicPr>
          <p:cNvPr id="35" name="Grafik 34" descr="Brugere">
            <a:extLst>
              <a:ext uri="{FF2B5EF4-FFF2-40B4-BE49-F238E27FC236}">
                <a16:creationId xmlns:a16="http://schemas.microsoft.com/office/drawing/2014/main" id="{1FEDB14A-C2CB-4828-A2BF-4BE9B110B11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110527" y="1389008"/>
            <a:ext cx="914400" cy="914400"/>
          </a:xfrm>
          <a:prstGeom prst="rect">
            <a:avLst/>
          </a:prstGeom>
        </p:spPr>
      </p:pic>
      <p:pic>
        <p:nvPicPr>
          <p:cNvPr id="37" name="Grafik 36" descr="Samtale">
            <a:extLst>
              <a:ext uri="{FF2B5EF4-FFF2-40B4-BE49-F238E27FC236}">
                <a16:creationId xmlns:a16="http://schemas.microsoft.com/office/drawing/2014/main" id="{C71D4A66-C5FF-4435-AD5D-31041C3867F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137220" y="740488"/>
            <a:ext cx="914400" cy="914400"/>
          </a:xfrm>
          <a:prstGeom prst="rect">
            <a:avLst/>
          </a:prstGeom>
        </p:spPr>
      </p:pic>
      <p:pic>
        <p:nvPicPr>
          <p:cNvPr id="45" name="Grafik 44" descr="Brugere">
            <a:extLst>
              <a:ext uri="{FF2B5EF4-FFF2-40B4-BE49-F238E27FC236}">
                <a16:creationId xmlns:a16="http://schemas.microsoft.com/office/drawing/2014/main" id="{F9AD0EFE-F425-465D-831B-61D2A3FB616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522449" y="1382565"/>
            <a:ext cx="914400" cy="914400"/>
          </a:xfrm>
          <a:prstGeom prst="rect">
            <a:avLst/>
          </a:prstGeom>
        </p:spPr>
      </p:pic>
      <p:pic>
        <p:nvPicPr>
          <p:cNvPr id="46" name="Grafik 45" descr="Samtale">
            <a:extLst>
              <a:ext uri="{FF2B5EF4-FFF2-40B4-BE49-F238E27FC236}">
                <a16:creationId xmlns:a16="http://schemas.microsoft.com/office/drawing/2014/main" id="{9400A065-C0DA-4689-8706-DDE1D1568E4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549142" y="734045"/>
            <a:ext cx="914400" cy="914400"/>
          </a:xfrm>
          <a:prstGeom prst="rect">
            <a:avLst/>
          </a:prstGeom>
        </p:spPr>
      </p:pic>
      <p:sp>
        <p:nvSpPr>
          <p:cNvPr id="49" name="Tekstfelt 48">
            <a:extLst>
              <a:ext uri="{FF2B5EF4-FFF2-40B4-BE49-F238E27FC236}">
                <a16:creationId xmlns:a16="http://schemas.microsoft.com/office/drawing/2014/main" id="{F1B9CAB1-E58B-460B-8F84-001526CEAAC3}"/>
              </a:ext>
            </a:extLst>
          </p:cNvPr>
          <p:cNvSpPr txBox="1"/>
          <p:nvPr/>
        </p:nvSpPr>
        <p:spPr>
          <a:xfrm>
            <a:off x="491260" y="45915"/>
            <a:ext cx="11148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400" dirty="0">
                <a:solidFill>
                  <a:srgbClr val="EF9304"/>
                </a:solidFill>
                <a:latin typeface="Scala Sans Black" pitchFamily="50" charset="0"/>
              </a:rPr>
              <a:t>PLAN FOR HOLD 9</a:t>
            </a:r>
          </a:p>
        </p:txBody>
      </p:sp>
      <p:sp>
        <p:nvSpPr>
          <p:cNvPr id="51" name="Rutediagram: Alternativ proces 50">
            <a:extLst>
              <a:ext uri="{FF2B5EF4-FFF2-40B4-BE49-F238E27FC236}">
                <a16:creationId xmlns:a16="http://schemas.microsoft.com/office/drawing/2014/main" id="{8B4793D4-1CD9-49B0-A29F-B82706FCD8D3}"/>
              </a:ext>
            </a:extLst>
          </p:cNvPr>
          <p:cNvSpPr/>
          <p:nvPr/>
        </p:nvSpPr>
        <p:spPr>
          <a:xfrm>
            <a:off x="533035" y="6202223"/>
            <a:ext cx="1260378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Okt./nov.</a:t>
            </a:r>
          </a:p>
        </p:txBody>
      </p:sp>
      <p:sp>
        <p:nvSpPr>
          <p:cNvPr id="52" name="Rutediagram: Alternativ proces 51">
            <a:extLst>
              <a:ext uri="{FF2B5EF4-FFF2-40B4-BE49-F238E27FC236}">
                <a16:creationId xmlns:a16="http://schemas.microsoft.com/office/drawing/2014/main" id="{92E0EFB8-94B6-48CF-BFA4-08868DDA2C0A}"/>
              </a:ext>
            </a:extLst>
          </p:cNvPr>
          <p:cNvSpPr/>
          <p:nvPr/>
        </p:nvSpPr>
        <p:spPr>
          <a:xfrm>
            <a:off x="1952841" y="6202222"/>
            <a:ext cx="1294478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7. nov.</a:t>
            </a:r>
          </a:p>
        </p:txBody>
      </p:sp>
      <p:sp>
        <p:nvSpPr>
          <p:cNvPr id="53" name="Rutediagram: Alternativ proces 52">
            <a:extLst>
              <a:ext uri="{FF2B5EF4-FFF2-40B4-BE49-F238E27FC236}">
                <a16:creationId xmlns:a16="http://schemas.microsoft.com/office/drawing/2014/main" id="{598E4D24-DE67-44AA-BC6F-CC3889E5DB17}"/>
              </a:ext>
            </a:extLst>
          </p:cNvPr>
          <p:cNvSpPr/>
          <p:nvPr/>
        </p:nvSpPr>
        <p:spPr>
          <a:xfrm>
            <a:off x="3374515" y="6197767"/>
            <a:ext cx="1250252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8.-23. nov.</a:t>
            </a:r>
          </a:p>
        </p:txBody>
      </p:sp>
      <p:sp>
        <p:nvSpPr>
          <p:cNvPr id="54" name="Rutediagram: Alternativ proces 53">
            <a:extLst>
              <a:ext uri="{FF2B5EF4-FFF2-40B4-BE49-F238E27FC236}">
                <a16:creationId xmlns:a16="http://schemas.microsoft.com/office/drawing/2014/main" id="{AB4EB1B5-1B55-4BDE-A232-BBAAA6F1A43B}"/>
              </a:ext>
            </a:extLst>
          </p:cNvPr>
          <p:cNvSpPr/>
          <p:nvPr/>
        </p:nvSpPr>
        <p:spPr>
          <a:xfrm>
            <a:off x="4758588" y="6197768"/>
            <a:ext cx="1250252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26. nov.</a:t>
            </a:r>
          </a:p>
        </p:txBody>
      </p:sp>
      <p:sp>
        <p:nvSpPr>
          <p:cNvPr id="55" name="Rutediagram: Alternativ proces 54">
            <a:extLst>
              <a:ext uri="{FF2B5EF4-FFF2-40B4-BE49-F238E27FC236}">
                <a16:creationId xmlns:a16="http://schemas.microsoft.com/office/drawing/2014/main" id="{3E9AAFEA-5C0C-4BED-920C-0A3F56E54B73}"/>
              </a:ext>
            </a:extLst>
          </p:cNvPr>
          <p:cNvSpPr/>
          <p:nvPr/>
        </p:nvSpPr>
        <p:spPr>
          <a:xfrm>
            <a:off x="6168268" y="6197767"/>
            <a:ext cx="1278499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solidFill>
                  <a:srgbClr val="EF9304"/>
                </a:solidFill>
                <a:latin typeface="Scala Sans Black" pitchFamily="50" charset="0"/>
              </a:rPr>
              <a:t>1. dec.</a:t>
            </a:r>
          </a:p>
        </p:txBody>
      </p:sp>
      <p:sp>
        <p:nvSpPr>
          <p:cNvPr id="56" name="Rutediagram: Alternativ proces 55">
            <a:extLst>
              <a:ext uri="{FF2B5EF4-FFF2-40B4-BE49-F238E27FC236}">
                <a16:creationId xmlns:a16="http://schemas.microsoft.com/office/drawing/2014/main" id="{3CC56E11-778C-462B-B666-8AB9DCD5A69C}"/>
              </a:ext>
            </a:extLst>
          </p:cNvPr>
          <p:cNvSpPr/>
          <p:nvPr/>
        </p:nvSpPr>
        <p:spPr>
          <a:xfrm>
            <a:off x="7552340" y="6197767"/>
            <a:ext cx="1262749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4.-11 dec.</a:t>
            </a:r>
          </a:p>
        </p:txBody>
      </p:sp>
      <p:sp>
        <p:nvSpPr>
          <p:cNvPr id="57" name="Rutediagram: Alternativ proces 56">
            <a:extLst>
              <a:ext uri="{FF2B5EF4-FFF2-40B4-BE49-F238E27FC236}">
                <a16:creationId xmlns:a16="http://schemas.microsoft.com/office/drawing/2014/main" id="{B91F9206-8641-43EE-8658-5CD4CA1F34E1}"/>
              </a:ext>
            </a:extLst>
          </p:cNvPr>
          <p:cNvSpPr/>
          <p:nvPr/>
        </p:nvSpPr>
        <p:spPr>
          <a:xfrm>
            <a:off x="8942285" y="6197767"/>
            <a:ext cx="1262749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11.-14. dec.</a:t>
            </a:r>
          </a:p>
        </p:txBody>
      </p:sp>
      <p:sp>
        <p:nvSpPr>
          <p:cNvPr id="58" name="Rutediagram: Alternativ proces 57">
            <a:extLst>
              <a:ext uri="{FF2B5EF4-FFF2-40B4-BE49-F238E27FC236}">
                <a16:creationId xmlns:a16="http://schemas.microsoft.com/office/drawing/2014/main" id="{50584E4E-FBD6-4B9D-9B74-B850FC6A2FFD}"/>
              </a:ext>
            </a:extLst>
          </p:cNvPr>
          <p:cNvSpPr/>
          <p:nvPr/>
        </p:nvSpPr>
        <p:spPr>
          <a:xfrm>
            <a:off x="10332230" y="6197767"/>
            <a:ext cx="1262749" cy="480225"/>
          </a:xfrm>
          <a:prstGeom prst="flowChartAlternateProcess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rgbClr val="EF9304"/>
                </a:solidFill>
                <a:latin typeface="Scala Sans Black" pitchFamily="50" charset="0"/>
              </a:rPr>
              <a:t>?</a:t>
            </a: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36FB86DB-646A-4E94-8641-DF13DF052931}"/>
              </a:ext>
            </a:extLst>
          </p:cNvPr>
          <p:cNvSpPr txBox="1"/>
          <p:nvPr/>
        </p:nvSpPr>
        <p:spPr>
          <a:xfrm>
            <a:off x="556882" y="2517624"/>
            <a:ext cx="1243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FORBEREDELSE</a:t>
            </a:r>
          </a:p>
          <a:p>
            <a:pPr algn="ctr"/>
            <a:r>
              <a:rPr lang="da-DK" sz="900" dirty="0">
                <a:solidFill>
                  <a:srgbClr val="EF9304"/>
                </a:solidFill>
                <a:latin typeface="Scala Sans Black" pitchFamily="50" charset="0"/>
              </a:rPr>
              <a:t>I TRIO</a:t>
            </a:r>
          </a:p>
        </p:txBody>
      </p:sp>
      <p:pic>
        <p:nvPicPr>
          <p:cNvPr id="3" name="Grafik 2" descr="Åben bog">
            <a:extLst>
              <a:ext uri="{FF2B5EF4-FFF2-40B4-BE49-F238E27FC236}">
                <a16:creationId xmlns:a16="http://schemas.microsoft.com/office/drawing/2014/main" id="{EEE6003C-D24C-42FD-B0C7-AA3ACCEDC89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14674" y="1522428"/>
            <a:ext cx="914400" cy="914400"/>
          </a:xfrm>
          <a:prstGeom prst="rect">
            <a:avLst/>
          </a:prstGeom>
        </p:spPr>
      </p:pic>
      <p:pic>
        <p:nvPicPr>
          <p:cNvPr id="15" name="Grafik 14" descr="Tjekliste">
            <a:extLst>
              <a:ext uri="{FF2B5EF4-FFF2-40B4-BE49-F238E27FC236}">
                <a16:creationId xmlns:a16="http://schemas.microsoft.com/office/drawing/2014/main" id="{1A005A8D-6091-4A76-AEC5-8A97B9D0680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39215" y="815356"/>
            <a:ext cx="810736" cy="810736"/>
          </a:xfrm>
          <a:prstGeom prst="rect">
            <a:avLst/>
          </a:prstGeom>
        </p:spPr>
      </p:pic>
      <p:sp>
        <p:nvSpPr>
          <p:cNvPr id="38" name="Rektangel: afrundede hjørner 37">
            <a:extLst>
              <a:ext uri="{FF2B5EF4-FFF2-40B4-BE49-F238E27FC236}">
                <a16:creationId xmlns:a16="http://schemas.microsoft.com/office/drawing/2014/main" id="{3D5B2226-23A7-4856-A9BD-AA17A354E1AA}"/>
              </a:ext>
            </a:extLst>
          </p:cNvPr>
          <p:cNvSpPr/>
          <p:nvPr/>
        </p:nvSpPr>
        <p:spPr>
          <a:xfrm>
            <a:off x="1869490" y="661022"/>
            <a:ext cx="1411764" cy="6016970"/>
          </a:xfrm>
          <a:prstGeom prst="roundRect">
            <a:avLst/>
          </a:prstGeom>
          <a:noFill/>
          <a:ln w="31750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5668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498BB95-7B7F-4449-BD59-F614F7CCDC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Den Nye</a:t>
            </a:r>
            <a:r>
              <a:rPr lang="da-DK" dirty="0"/>
              <a:t> </a:t>
            </a:r>
            <a:r>
              <a:rPr lang="da-DK" sz="2800" dirty="0">
                <a:latin typeface="Scala Sans Black" pitchFamily="50" charset="0"/>
              </a:rPr>
              <a:t>proces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280D8363-64A6-4A8E-B08C-B4B584677148}"/>
              </a:ext>
            </a:extLst>
          </p:cNvPr>
          <p:cNvSpPr txBox="1"/>
          <p:nvPr/>
        </p:nvSpPr>
        <p:spPr>
          <a:xfrm>
            <a:off x="1141984" y="1444714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cap="all" dirty="0">
                <a:solidFill>
                  <a:srgbClr val="F7941E"/>
                </a:solidFill>
                <a:latin typeface="Scala Sans Black" pitchFamily="50" charset="0"/>
              </a:rPr>
              <a:t>FØR</a:t>
            </a:r>
            <a:endParaRPr lang="da-DK" sz="2800" cap="all" dirty="0">
              <a:solidFill>
                <a:srgbClr val="F7941E"/>
              </a:solidFill>
              <a:latin typeface="Scala Sans Black" pitchFamily="50" charset="0"/>
            </a:endParaRP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45480286-1F69-4B79-B40D-0F2948DD1243}"/>
              </a:ext>
            </a:extLst>
          </p:cNvPr>
          <p:cNvSpPr txBox="1"/>
          <p:nvPr/>
        </p:nvSpPr>
        <p:spPr>
          <a:xfrm>
            <a:off x="6528048" y="1444714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cap="all" dirty="0">
                <a:solidFill>
                  <a:srgbClr val="F7941E"/>
                </a:solidFill>
                <a:latin typeface="Scala Sans Black" pitchFamily="50" charset="0"/>
              </a:rPr>
              <a:t>EFTER</a:t>
            </a:r>
            <a:endParaRPr lang="da-DK" sz="2800" cap="all" dirty="0">
              <a:solidFill>
                <a:srgbClr val="F7941E"/>
              </a:solidFill>
              <a:latin typeface="Scala Sans Black" pitchFamily="50" charset="0"/>
            </a:endParaRP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CE9A863D-D83D-4DE1-9E0E-2F100E82297C}"/>
              </a:ext>
            </a:extLst>
          </p:cNvPr>
          <p:cNvSpPr/>
          <p:nvPr/>
        </p:nvSpPr>
        <p:spPr>
          <a:xfrm>
            <a:off x="1127448" y="1894459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SkoleIntra</a:t>
            </a:r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A64AD879-FDE2-4991-A94B-35C8A84B345E}"/>
              </a:ext>
            </a:extLst>
          </p:cNvPr>
          <p:cNvSpPr/>
          <p:nvPr/>
        </p:nvSpPr>
        <p:spPr>
          <a:xfrm>
            <a:off x="1118421" y="3082866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Trio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F1130E60-0878-4A1C-9D39-2C315B6ACE45}"/>
              </a:ext>
            </a:extLst>
          </p:cNvPr>
          <p:cNvSpPr/>
          <p:nvPr/>
        </p:nvSpPr>
        <p:spPr>
          <a:xfrm>
            <a:off x="1127448" y="5373216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OPUS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Rollebaseret Indgang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E7895403-5218-4568-9CC1-EADF659C5D76}"/>
              </a:ext>
            </a:extLst>
          </p:cNvPr>
          <p:cNvSpPr/>
          <p:nvPr/>
        </p:nvSpPr>
        <p:spPr>
          <a:xfrm>
            <a:off x="1138063" y="4221088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 err="1">
                <a:solidFill>
                  <a:schemeClr val="bg1"/>
                </a:solidFill>
                <a:latin typeface="Scala Sans Black" pitchFamily="50" charset="0"/>
              </a:rPr>
              <a:t>Tabulex</a:t>
            </a:r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 Skemalægning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C32491-51AA-4D6C-AA77-BACC1F541AEF}"/>
              </a:ext>
            </a:extLst>
          </p:cNvPr>
          <p:cNvSpPr txBox="1"/>
          <p:nvPr/>
        </p:nvSpPr>
        <p:spPr>
          <a:xfrm>
            <a:off x="3251684" y="1969705"/>
            <a:ext cx="18722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1"/>
                </a:solidFill>
                <a:latin typeface="Scala Sans Black" pitchFamily="50" charset="0"/>
              </a:rPr>
              <a:t>Vikardækning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Kommunikation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Vikarplaner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EF9549CD-72C0-401A-AEC6-D2702A62FE71}"/>
              </a:ext>
            </a:extLst>
          </p:cNvPr>
          <p:cNvSpPr txBox="1"/>
          <p:nvPr/>
        </p:nvSpPr>
        <p:spPr>
          <a:xfrm>
            <a:off x="3224029" y="3155890"/>
            <a:ext cx="3432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Planlægning af lærernes </a:t>
            </a:r>
            <a:r>
              <a:rPr lang="da-DK" sz="1400" dirty="0" err="1">
                <a:latin typeface="Scala Sans Black" pitchFamily="50" charset="0"/>
              </a:rPr>
              <a:t>arb.tid</a:t>
            </a:r>
            <a:endParaRPr lang="da-DK" sz="1400" dirty="0">
              <a:latin typeface="Scala Sans Black" pitchFamily="50" charset="0"/>
            </a:endParaRP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Udbetaling af UV-tillæg m.m.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Indberetning til STIL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DB335A84-79AD-4104-A875-EEA4ABACBEFF}"/>
              </a:ext>
            </a:extLst>
          </p:cNvPr>
          <p:cNvSpPr txBox="1"/>
          <p:nvPr/>
        </p:nvSpPr>
        <p:spPr>
          <a:xfrm>
            <a:off x="3246477" y="4506200"/>
            <a:ext cx="343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Skemalægning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F0EAA13-82D1-49F6-BAE9-B60758250418}"/>
              </a:ext>
            </a:extLst>
          </p:cNvPr>
          <p:cNvSpPr txBox="1"/>
          <p:nvPr/>
        </p:nvSpPr>
        <p:spPr>
          <a:xfrm>
            <a:off x="3246477" y="5603669"/>
            <a:ext cx="34323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1"/>
                </a:solidFill>
                <a:latin typeface="Scala Sans Black" pitchFamily="50" charset="0"/>
              </a:rPr>
              <a:t>Løn til timelønnede vikarer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Ansættelse af medarbejdere</a:t>
            </a:r>
          </a:p>
        </p:txBody>
      </p:sp>
      <p:sp>
        <p:nvSpPr>
          <p:cNvPr id="15" name="Rektangel: afrundede hjørner 14">
            <a:extLst>
              <a:ext uri="{FF2B5EF4-FFF2-40B4-BE49-F238E27FC236}">
                <a16:creationId xmlns:a16="http://schemas.microsoft.com/office/drawing/2014/main" id="{BA6BC351-032B-4569-810A-4DA0302EE6A9}"/>
              </a:ext>
            </a:extLst>
          </p:cNvPr>
          <p:cNvSpPr/>
          <p:nvPr/>
        </p:nvSpPr>
        <p:spPr>
          <a:xfrm>
            <a:off x="6528048" y="1894459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SkoleIntra</a:t>
            </a:r>
            <a:b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</a:br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(Aula)</a:t>
            </a:r>
          </a:p>
        </p:txBody>
      </p:sp>
      <p:sp>
        <p:nvSpPr>
          <p:cNvPr id="16" name="Rektangel: afrundede hjørner 15">
            <a:extLst>
              <a:ext uri="{FF2B5EF4-FFF2-40B4-BE49-F238E27FC236}">
                <a16:creationId xmlns:a16="http://schemas.microsoft.com/office/drawing/2014/main" id="{F8BB6C6C-F26B-4C78-B7CF-9E30D93D8357}"/>
              </a:ext>
            </a:extLst>
          </p:cNvPr>
          <p:cNvSpPr/>
          <p:nvPr/>
        </p:nvSpPr>
        <p:spPr>
          <a:xfrm>
            <a:off x="6528048" y="3082866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Trio</a:t>
            </a:r>
          </a:p>
        </p:txBody>
      </p:sp>
      <p:sp>
        <p:nvSpPr>
          <p:cNvPr id="17" name="Rektangel: afrundede hjørner 16">
            <a:extLst>
              <a:ext uri="{FF2B5EF4-FFF2-40B4-BE49-F238E27FC236}">
                <a16:creationId xmlns:a16="http://schemas.microsoft.com/office/drawing/2014/main" id="{FAEBEC9D-EE15-4974-ADA7-5D3E2656ED7F}"/>
              </a:ext>
            </a:extLst>
          </p:cNvPr>
          <p:cNvSpPr/>
          <p:nvPr/>
        </p:nvSpPr>
        <p:spPr>
          <a:xfrm>
            <a:off x="6528048" y="4221088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 err="1">
                <a:solidFill>
                  <a:schemeClr val="bg1"/>
                </a:solidFill>
                <a:latin typeface="Scala Sans Black" pitchFamily="50" charset="0"/>
              </a:rPr>
              <a:t>Tabulex</a:t>
            </a:r>
            <a:r>
              <a:rPr lang="da-DK" dirty="0"/>
              <a:t> </a:t>
            </a:r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Skemalægning</a:t>
            </a:r>
          </a:p>
        </p:txBody>
      </p:sp>
      <p:sp>
        <p:nvSpPr>
          <p:cNvPr id="18" name="Rektangel: afrundede hjørner 17">
            <a:extLst>
              <a:ext uri="{FF2B5EF4-FFF2-40B4-BE49-F238E27FC236}">
                <a16:creationId xmlns:a16="http://schemas.microsoft.com/office/drawing/2014/main" id="{C5F6FA45-9232-4AC1-A22D-BC3FF1E5B85B}"/>
              </a:ext>
            </a:extLst>
          </p:cNvPr>
          <p:cNvSpPr/>
          <p:nvPr/>
        </p:nvSpPr>
        <p:spPr>
          <a:xfrm>
            <a:off x="6528048" y="5373216"/>
            <a:ext cx="2232248" cy="864096"/>
          </a:xfrm>
          <a:prstGeom prst="roundRect">
            <a:avLst/>
          </a:prstGeom>
          <a:solidFill>
            <a:srgbClr val="F7941E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OPUS</a:t>
            </a:r>
            <a:r>
              <a:rPr lang="da-DK" dirty="0"/>
              <a:t> </a:t>
            </a:r>
          </a:p>
          <a:p>
            <a:pPr algn="ctr"/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Rollebaseret</a:t>
            </a:r>
            <a:r>
              <a:rPr lang="da-DK" sz="1600" dirty="0"/>
              <a:t> </a:t>
            </a:r>
            <a:r>
              <a:rPr lang="da-DK" sz="1600" dirty="0">
                <a:solidFill>
                  <a:schemeClr val="bg1"/>
                </a:solidFill>
                <a:latin typeface="Scala Sans Black" pitchFamily="50" charset="0"/>
              </a:rPr>
              <a:t>Indgang</a:t>
            </a:r>
          </a:p>
          <a:p>
            <a:pPr algn="ctr"/>
            <a:endParaRPr lang="da-DK" dirty="0"/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D0B32ABC-9675-4301-9A6B-552E9E22EF0A}"/>
              </a:ext>
            </a:extLst>
          </p:cNvPr>
          <p:cNvSpPr txBox="1"/>
          <p:nvPr/>
        </p:nvSpPr>
        <p:spPr>
          <a:xfrm>
            <a:off x="8688288" y="2050392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Kommunikation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Vikarplan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B9BD87E2-5629-4DA6-9518-421BD10B00B0}"/>
              </a:ext>
            </a:extLst>
          </p:cNvPr>
          <p:cNvSpPr txBox="1"/>
          <p:nvPr/>
        </p:nvSpPr>
        <p:spPr>
          <a:xfrm>
            <a:off x="8640360" y="2953671"/>
            <a:ext cx="34323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Planlægning af lærernes </a:t>
            </a:r>
            <a:r>
              <a:rPr lang="da-DK" sz="1400" dirty="0" err="1">
                <a:latin typeface="Scala Sans Black" pitchFamily="50" charset="0"/>
              </a:rPr>
              <a:t>arb.tid</a:t>
            </a:r>
            <a:endParaRPr lang="da-DK" sz="1400" dirty="0">
              <a:latin typeface="Scala Sans Black" pitchFamily="50" charset="0"/>
            </a:endParaRP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Udbetaling af UV-tillæg m.m.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Indberetning til STIL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1"/>
                </a:solidFill>
                <a:latin typeface="Scala Sans Black" pitchFamily="50" charset="0"/>
              </a:rPr>
              <a:t>Vikardækning</a:t>
            </a:r>
          </a:p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1"/>
                </a:solidFill>
                <a:latin typeface="Scala Sans Black" pitchFamily="50" charset="0"/>
              </a:rPr>
              <a:t>Løn til timelønnede vikarer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0D867A3F-7859-49BE-B6F1-442056629E82}"/>
              </a:ext>
            </a:extLst>
          </p:cNvPr>
          <p:cNvSpPr txBox="1"/>
          <p:nvPr/>
        </p:nvSpPr>
        <p:spPr>
          <a:xfrm>
            <a:off x="8616280" y="4447533"/>
            <a:ext cx="343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Skemalægning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A25913B1-A80F-49B3-9A2D-769375174F5B}"/>
              </a:ext>
            </a:extLst>
          </p:cNvPr>
          <p:cNvSpPr txBox="1"/>
          <p:nvPr/>
        </p:nvSpPr>
        <p:spPr>
          <a:xfrm>
            <a:off x="8616280" y="5543654"/>
            <a:ext cx="343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Font typeface="Arial" panose="020B0604020202020204" pitchFamily="34" charset="0"/>
              <a:buChar char="•"/>
            </a:pPr>
            <a:r>
              <a:rPr lang="da-DK" sz="1400" dirty="0">
                <a:latin typeface="Scala Sans Black" pitchFamily="50" charset="0"/>
              </a:rPr>
              <a:t>Ansættelse af medarbejdere</a:t>
            </a:r>
          </a:p>
        </p:txBody>
      </p:sp>
      <p:cxnSp>
        <p:nvCxnSpPr>
          <p:cNvPr id="24" name="Lige pilforbindelse 23">
            <a:extLst>
              <a:ext uri="{FF2B5EF4-FFF2-40B4-BE49-F238E27FC236}">
                <a16:creationId xmlns:a16="http://schemas.microsoft.com/office/drawing/2014/main" id="{8E3E6437-4DC8-48FA-A815-F50943564D44}"/>
              </a:ext>
            </a:extLst>
          </p:cNvPr>
          <p:cNvCxnSpPr>
            <a:cxnSpLocks/>
          </p:cNvCxnSpPr>
          <p:nvPr/>
        </p:nvCxnSpPr>
        <p:spPr>
          <a:xfrm>
            <a:off x="4871864" y="2200650"/>
            <a:ext cx="2364340" cy="12283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ge pilforbindelse 24">
            <a:extLst>
              <a:ext uri="{FF2B5EF4-FFF2-40B4-BE49-F238E27FC236}">
                <a16:creationId xmlns:a16="http://schemas.microsoft.com/office/drawing/2014/main" id="{237DD1E1-71F7-47C5-921C-2EBC863438FA}"/>
              </a:ext>
            </a:extLst>
          </p:cNvPr>
          <p:cNvCxnSpPr>
            <a:cxnSpLocks/>
          </p:cNvCxnSpPr>
          <p:nvPr/>
        </p:nvCxnSpPr>
        <p:spPr>
          <a:xfrm flipV="1">
            <a:off x="4754825" y="3546595"/>
            <a:ext cx="2453440" cy="189862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6332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11"/>
          <p:cNvSpPr>
            <a:spLocks noGrp="1"/>
          </p:cNvSpPr>
          <p:nvPr>
            <p:ph type="body" sz="quarter" idx="13"/>
          </p:nvPr>
        </p:nvSpPr>
        <p:spPr>
          <a:xfrm>
            <a:off x="960000" y="1340768"/>
            <a:ext cx="10038804" cy="5832648"/>
          </a:xfrm>
        </p:spPr>
        <p:txBody>
          <a:bodyPr>
            <a:noAutofit/>
          </a:bodyPr>
          <a:lstStyle/>
          <a:p>
            <a:pPr marL="0" indent="0"/>
            <a:r>
              <a:rPr lang="da-DK" sz="1600" dirty="0">
                <a:latin typeface="Scala Sans Black" pitchFamily="50" charset="0"/>
              </a:rPr>
              <a:t>Opmærksomhedspunkter i Grunddata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Opsamling på hjemmearbejde</a:t>
            </a:r>
          </a:p>
          <a:p>
            <a:pPr marL="285750" indent="-285750">
              <a:buFontTx/>
              <a:buChar char="-"/>
            </a:pPr>
            <a:r>
              <a:rPr lang="da-DK" sz="1600" dirty="0" err="1">
                <a:latin typeface="Scala Sans Black" pitchFamily="50" charset="0"/>
              </a:rPr>
              <a:t>Ringetidssæt</a:t>
            </a:r>
            <a:r>
              <a:rPr lang="da-DK" sz="1600" dirty="0">
                <a:latin typeface="Scala Sans Black" pitchFamily="50" charset="0"/>
              </a:rPr>
              <a:t>, klasser/hold, lokaler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6. ferieuge</a:t>
            </a:r>
          </a:p>
          <a:p>
            <a:pPr marL="0" indent="0"/>
            <a:endParaRPr lang="da-DK" sz="1400" dirty="0"/>
          </a:p>
          <a:p>
            <a:pPr marL="0" indent="0"/>
            <a:r>
              <a:rPr lang="da-DK" sz="1600" dirty="0">
                <a:latin typeface="Scala Sans Black" pitchFamily="50" charset="0"/>
              </a:rPr>
              <a:t>Timelønnede vikarer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Regler for aflønning af timelønnede vikarer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Oprettelse af vikarer i Trio</a:t>
            </a:r>
          </a:p>
          <a:p>
            <a:pPr marL="0" indent="0"/>
            <a:endParaRPr lang="da-DK" sz="1400" dirty="0"/>
          </a:p>
          <a:p>
            <a:pPr marL="0" indent="0">
              <a:lnSpc>
                <a:spcPts val="0"/>
              </a:lnSpc>
            </a:pPr>
            <a:r>
              <a:rPr lang="da-DK" sz="1200" dirty="0">
                <a:latin typeface="Scala Sans Black" pitchFamily="50" charset="0"/>
              </a:rPr>
              <a:t>Selvstændigt arbejde med oprettelse af vikarer og grunddata</a:t>
            </a:r>
          </a:p>
          <a:p>
            <a:pPr marL="0" indent="0"/>
            <a:r>
              <a:rPr lang="da-DK" sz="1400" dirty="0"/>
              <a:t> </a:t>
            </a:r>
          </a:p>
          <a:p>
            <a:pPr marL="0" indent="0"/>
            <a:r>
              <a:rPr lang="da-DK" sz="1600" dirty="0">
                <a:latin typeface="Scala Sans Black" pitchFamily="50" charset="0"/>
              </a:rPr>
              <a:t>Skemaer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Skemaer til Trio</a:t>
            </a:r>
          </a:p>
          <a:p>
            <a:pPr marL="285750" indent="-285750">
              <a:buFontTx/>
              <a:buChar char="-"/>
            </a:pPr>
            <a:r>
              <a:rPr lang="da-DK" sz="1600" dirty="0" err="1">
                <a:latin typeface="Scala Sans Black" pitchFamily="50" charset="0"/>
              </a:rPr>
              <a:t>Fagdage</a:t>
            </a:r>
            <a:r>
              <a:rPr lang="da-DK" sz="1600" dirty="0">
                <a:latin typeface="Scala Sans Black" pitchFamily="50" charset="0"/>
              </a:rPr>
              <a:t> - perioder</a:t>
            </a:r>
          </a:p>
          <a:p>
            <a:pPr marL="0" indent="0"/>
            <a:endParaRPr lang="da-DK" sz="1400" dirty="0"/>
          </a:p>
          <a:p>
            <a:pPr marL="0" indent="0">
              <a:lnSpc>
                <a:spcPts val="0"/>
              </a:lnSpc>
            </a:pPr>
            <a:r>
              <a:rPr lang="da-DK" sz="1200" dirty="0">
                <a:latin typeface="Scala Sans Black" pitchFamily="50" charset="0"/>
              </a:rPr>
              <a:t>Selvstændigt arbejde med tilretninger og import af skemaer </a:t>
            </a:r>
          </a:p>
          <a:p>
            <a:pPr marL="0" indent="0"/>
            <a:endParaRPr lang="da-DK" sz="1400" dirty="0"/>
          </a:p>
          <a:p>
            <a:pPr marL="0" indent="0"/>
            <a:r>
              <a:rPr lang="da-DK" sz="1600" dirty="0">
                <a:latin typeface="Scala Sans Black" pitchFamily="50" charset="0"/>
              </a:rPr>
              <a:t>Afslutning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Organisering</a:t>
            </a:r>
          </a:p>
          <a:p>
            <a:pPr marL="285750" indent="-285750">
              <a:buFontTx/>
              <a:buChar char="-"/>
            </a:pPr>
            <a:r>
              <a:rPr lang="da-DK" sz="1600" dirty="0">
                <a:latin typeface="Scala Sans Black" pitchFamily="50" charset="0"/>
              </a:rPr>
              <a:t>Hvad skal være klar til kickoff?</a:t>
            </a: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Hvad skal vi igennem i dag?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212976"/>
            <a:ext cx="3312527" cy="2484396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F9B83B3C-DA5A-4414-876D-34F70F8DD5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058108"/>
            <a:ext cx="1931763" cy="230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623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E1774A9-C07A-41DB-9C54-62E1A87FA2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000" y="1440000"/>
            <a:ext cx="9384472" cy="4320000"/>
          </a:xfrm>
        </p:spPr>
        <p:txBody>
          <a:bodyPr/>
          <a:lstStyle/>
          <a:p>
            <a:pPr marL="0" indent="0"/>
            <a:r>
              <a:rPr lang="da-DK" sz="2800" dirty="0">
                <a:latin typeface="Scala Sans Black" pitchFamily="50" charset="0"/>
              </a:rPr>
              <a:t>Opgaver i drejebog</a:t>
            </a:r>
            <a:br>
              <a:rPr lang="da-DK" sz="2800" dirty="0">
                <a:latin typeface="Scala Sans Black" pitchFamily="50" charset="0"/>
              </a:rPr>
            </a:br>
            <a:endParaRPr lang="da-DK" sz="2800" dirty="0">
              <a:latin typeface="Scala Sans Black" pitchFamily="50" charset="0"/>
            </a:endParaRPr>
          </a:p>
          <a:p>
            <a:pPr lvl="1"/>
            <a:r>
              <a:rPr lang="da-DK" sz="2400" dirty="0">
                <a:latin typeface="Scala Sans Black" pitchFamily="50" charset="0"/>
              </a:rPr>
              <a:t>1.1    Brugeradministrationssystemet i Trio</a:t>
            </a:r>
          </a:p>
          <a:p>
            <a:pPr lvl="1"/>
            <a:r>
              <a:rPr lang="da-DK" sz="2400" dirty="0">
                <a:latin typeface="Scala Sans Black" pitchFamily="50" charset="0"/>
              </a:rPr>
              <a:t>1.2    Skema</a:t>
            </a:r>
          </a:p>
          <a:p>
            <a:pPr lvl="1"/>
            <a:r>
              <a:rPr lang="da-DK" sz="2400" dirty="0">
                <a:latin typeface="Scala Sans Black" pitchFamily="50" charset="0"/>
              </a:rPr>
              <a:t>1.3    Timelønnede vikarer</a:t>
            </a:r>
          </a:p>
          <a:p>
            <a:pPr lvl="1"/>
            <a:r>
              <a:rPr lang="da-DK" sz="2400" dirty="0">
                <a:latin typeface="Scala Sans Black" pitchFamily="50" charset="0"/>
              </a:rPr>
              <a:t>1.4    Fraværsårsagskoder</a:t>
            </a:r>
          </a:p>
          <a:p>
            <a:pPr lvl="1"/>
            <a:r>
              <a:rPr lang="da-DK" sz="2400" dirty="0">
                <a:latin typeface="Scala Sans Black" pitchFamily="50" charset="0"/>
              </a:rPr>
              <a:t>1.7    SkoleIntra</a:t>
            </a:r>
          </a:p>
          <a:p>
            <a:pPr lvl="1"/>
            <a:r>
              <a:rPr lang="da-DK" sz="2400" dirty="0">
                <a:latin typeface="Scala Sans Black" pitchFamily="50" charset="0"/>
              </a:rPr>
              <a:t>1.8    Fraværsseddel</a:t>
            </a:r>
          </a:p>
          <a:p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D507648-0DAA-4451-A8EA-57D9DD61A6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0000" y="-1"/>
            <a:ext cx="9384472" cy="1080000"/>
          </a:xfrm>
        </p:spPr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Inden kickoff 26. november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2F86565-95E3-494F-B84C-481E448539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1963529"/>
            <a:ext cx="4302224" cy="3226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492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960000" y="260768"/>
            <a:ext cx="8880000" cy="1080000"/>
          </a:xfrm>
        </p:spPr>
        <p:txBody>
          <a:bodyPr/>
          <a:lstStyle/>
          <a:p>
            <a:r>
              <a:rPr lang="da-DK" sz="2800" dirty="0">
                <a:latin typeface="Scala Sans Black" pitchFamily="50" charset="0"/>
              </a:rPr>
              <a:t>Efter i dag</a:t>
            </a:r>
          </a:p>
        </p:txBody>
      </p:sp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A92F0099-D9EA-4130-B028-EF3C875946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000" y="1340768"/>
            <a:ext cx="9456480" cy="525658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Kickoff-workshop:</a:t>
            </a:r>
          </a:p>
          <a:p>
            <a:pPr lvl="2" indent="-34290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Intro til Trio for de involverede medarbejdere</a:t>
            </a:r>
          </a:p>
          <a:p>
            <a:pPr lvl="2" indent="-34290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Deltagerne har sikret, at de har Trio på deres pc, og har afprøvet adgangen </a:t>
            </a:r>
          </a:p>
          <a:p>
            <a:pPr>
              <a:buFont typeface="Arial" panose="020B0604020202020204" pitchFamily="34" charset="0"/>
              <a:buChar char="•"/>
            </a:pPr>
            <a:endParaRPr lang="da-DK" sz="2000" dirty="0">
              <a:latin typeface="Scala Sans Black" pitchFamily="50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Program: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Oprettelse af fravær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Vikardækn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>
                <a:latin typeface="Scala Sans Black" pitchFamily="50" charset="0"/>
              </a:rPr>
              <a:t>Løn (timelønnede)</a:t>
            </a:r>
          </a:p>
          <a:p>
            <a:pPr>
              <a:buFont typeface="Arial" panose="020B0604020202020204" pitchFamily="34" charset="0"/>
              <a:buChar char="•"/>
            </a:pPr>
            <a:endParaRPr lang="da-DK" sz="2000" dirty="0">
              <a:latin typeface="Scala Sans Black" pitchFamily="50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Find mere information på …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Overvej jeres organisering nøj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000" dirty="0">
                <a:latin typeface="Scala Sans Black" pitchFamily="50" charset="0"/>
              </a:rPr>
              <a:t>Nyt vikarmodul (web)</a:t>
            </a:r>
          </a:p>
          <a:p>
            <a:pPr marL="457200" lvl="1" indent="0"/>
            <a:endParaRPr lang="da-DK" sz="2000" dirty="0">
              <a:latin typeface="Scala Sans Black" pitchFamily="50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da-DK" sz="2000" dirty="0">
              <a:latin typeface="Scala Sans Black" pitchFamily="50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da-DK" sz="2000" dirty="0">
              <a:latin typeface="Scala Sans Black" pitchFamily="50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65105B7-1E21-461C-B244-EBBF2934BE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440" y="2420888"/>
            <a:ext cx="1834534" cy="340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7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st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rugerdefinere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test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rugerdefinere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DBB707-6BAA-44C8-9961-D1D90441426C}">
  <ds:schemaRefs>
    <ds:schemaRef ds:uri="http://schemas.openxmlformats.org/package/2006/metadata/core-properties"/>
    <ds:schemaRef ds:uri="http://purl.org/dc/elements/1.1/"/>
    <ds:schemaRef ds:uri="e546b3cb-221c-4320-b6c7-71dedbfc371b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5C41191-778F-4256-BC56-918C2DFAEB96}"/>
</file>

<file path=customXml/itemProps3.xml><?xml version="1.0" encoding="utf-8"?>
<ds:datastoreItem xmlns:ds="http://schemas.openxmlformats.org/officeDocument/2006/customXml" ds:itemID="{D003EDA1-6C32-47CF-B29A-8F6DB448E1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t</Template>
  <TotalTime>17261</TotalTime>
  <Words>540</Words>
  <Application>Microsoft Office PowerPoint</Application>
  <PresentationFormat>Widescreen</PresentationFormat>
  <Paragraphs>168</Paragraphs>
  <Slides>7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7</vt:i4>
      </vt:variant>
    </vt:vector>
  </HeadingPairs>
  <TitlesOfParts>
    <vt:vector size="13" baseType="lpstr">
      <vt:lpstr>Arial</vt:lpstr>
      <vt:lpstr>Calibri</vt:lpstr>
      <vt:lpstr>Scala Sans Black</vt:lpstr>
      <vt:lpstr>test</vt:lpstr>
      <vt:lpstr>1_test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Aarhus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s nummer 1</dc:title>
  <dc:creator>azskh28</dc:creator>
  <cp:lastModifiedBy>Birgitte Mouritzen</cp:lastModifiedBy>
  <cp:revision>256</cp:revision>
  <cp:lastPrinted>2018-01-05T09:28:12Z</cp:lastPrinted>
  <dcterms:created xsi:type="dcterms:W3CDTF">2014-12-17T11:00:57Z</dcterms:created>
  <dcterms:modified xsi:type="dcterms:W3CDTF">2019-01-24T14:4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9A9C3DBC90E941A1B2808491BAB128</vt:lpwstr>
  </property>
  <property fmtid="{D5CDD505-2E9C-101B-9397-08002B2CF9AE}" pid="3" name="_dlc_DocIdItemGuid">
    <vt:lpwstr>d8a7f791-928e-46e8-84e4-319cf6ca120b</vt:lpwstr>
  </property>
</Properties>
</file>